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 id="2147483774" r:id="rId6"/>
  </p:sldMasterIdLst>
  <p:notesMasterIdLst>
    <p:notesMasterId r:id="rId20"/>
  </p:notesMasterIdLst>
  <p:handoutMasterIdLst>
    <p:handoutMasterId r:id="rId21"/>
  </p:handoutMasterIdLst>
  <p:sldIdLst>
    <p:sldId id="2887" r:id="rId7"/>
    <p:sldId id="2724" r:id="rId8"/>
    <p:sldId id="258" r:id="rId9"/>
    <p:sldId id="2856" r:id="rId10"/>
    <p:sldId id="3494" r:id="rId11"/>
    <p:sldId id="3610" r:id="rId12"/>
    <p:sldId id="3611" r:id="rId13"/>
    <p:sldId id="3612" r:id="rId14"/>
    <p:sldId id="2861" r:id="rId15"/>
    <p:sldId id="3613" r:id="rId16"/>
    <p:sldId id="3491" r:id="rId17"/>
    <p:sldId id="3614" r:id="rId18"/>
    <p:sldId id="3615" r:id="rId19"/>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Kernbotschaft" id="{B35C8CCB-B172-F844-9B96-5613C27C05F8}">
          <p14:sldIdLst>
            <p14:sldId id="2856"/>
            <p14:sldId id="3494"/>
            <p14:sldId id="3610"/>
            <p14:sldId id="3611"/>
            <p14:sldId id="3612"/>
          </p14:sldIdLst>
        </p14:section>
        <p14:section name="Transfer-Phase 2: Aktivierung" id="{9C08524E-24E5-3D47-9C00-CF9276A2C9F0}">
          <p14:sldIdLst>
            <p14:sldId id="2861"/>
            <p14:sldId id="3613"/>
          </p14:sldIdLst>
        </p14:section>
        <p14:section name="Transfer-Phase 3: Reflexion" id="{3C99E0EA-9B6F-6F4E-9D83-658BA893BEFB}">
          <p14:sldIdLst>
            <p14:sldId id="3491"/>
            <p14:sldId id="3614"/>
            <p14:sldId id="3615"/>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901251-3AB2-E3B7-7AB0-F5E1A12B909D}" name="Lilith Pokorra" initials="LP" userId="S::lilith.pokorra@tu-dortmund.de::29887f1b-b715-413d-8f68-9084865f2962" providerId="AD"/>
  <p188:author id="{05F17779-10D5-D28D-859C-FAC279A394D5}" name="Johanna Brandt" initials="JB" userId="Johanna Brandt"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1"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CC7"/>
    <a:srgbClr val="327A86"/>
    <a:srgbClr val="EEECEA"/>
    <a:srgbClr val="F89645"/>
    <a:srgbClr val="00B14F"/>
    <a:srgbClr val="1EB3E3"/>
    <a:srgbClr val="7F7F7F"/>
    <a:srgbClr val="000000"/>
    <a:srgbClr val="A6A6A6"/>
    <a:srgbClr val="A44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549443-0699-4670-A019-EFEF75EBBD18}" v="42" dt="2024-10-29T14:54:33.19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808" autoAdjust="0"/>
    <p:restoredTop sz="87620" autoAdjust="0"/>
  </p:normalViewPr>
  <p:slideViewPr>
    <p:cSldViewPr snapToGrid="0">
      <p:cViewPr varScale="1">
        <p:scale>
          <a:sx n="78" d="100"/>
          <a:sy n="78" d="100"/>
        </p:scale>
        <p:origin x="168" y="512"/>
      </p:cViewPr>
      <p:guideLst>
        <p:guide pos="5760"/>
        <p:guide orient="horz" pos="2160"/>
      </p:guideLst>
    </p:cSldViewPr>
  </p:slideViewPr>
  <p:notesTextViewPr>
    <p:cViewPr>
      <p:scale>
        <a:sx n="75" d="100"/>
        <a:sy n="75" d="100"/>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lith Pokorra" userId="29887f1b-b715-413d-8f68-9084865f2962" providerId="ADAL" clId="{C8549443-0699-4670-A019-EFEF75EBBD18}"/>
    <pc:docChg chg="undo redo custSel addSld delSld modSld sldOrd modSection">
      <pc:chgData name="Lilith Pokorra" userId="29887f1b-b715-413d-8f68-9084865f2962" providerId="ADAL" clId="{C8549443-0699-4670-A019-EFEF75EBBD18}" dt="2024-10-29T15:29:36.859" v="3782" actId="20577"/>
      <pc:docMkLst>
        <pc:docMk/>
      </pc:docMkLst>
      <pc:sldChg chg="modSp mod">
        <pc:chgData name="Lilith Pokorra" userId="29887f1b-b715-413d-8f68-9084865f2962" providerId="ADAL" clId="{C8549443-0699-4670-A019-EFEF75EBBD18}" dt="2024-10-29T15:19:05.883" v="3748" actId="20577"/>
        <pc:sldMkLst>
          <pc:docMk/>
          <pc:sldMk cId="781050650" sldId="2856"/>
        </pc:sldMkLst>
        <pc:spChg chg="mod">
          <ac:chgData name="Lilith Pokorra" userId="29887f1b-b715-413d-8f68-9084865f2962" providerId="ADAL" clId="{C8549443-0699-4670-A019-EFEF75EBBD18}" dt="2024-10-29T15:19:05.883" v="3748" actId="20577"/>
          <ac:spMkLst>
            <pc:docMk/>
            <pc:sldMk cId="781050650" sldId="2856"/>
            <ac:spMk id="2" creationId="{07236072-4A52-C54D-9963-5319D1FFA5BC}"/>
          </ac:spMkLst>
        </pc:spChg>
        <pc:graphicFrameChg chg="modGraphic">
          <ac:chgData name="Lilith Pokorra" userId="29887f1b-b715-413d-8f68-9084865f2962" providerId="ADAL" clId="{C8549443-0699-4670-A019-EFEF75EBBD18}" dt="2024-10-28T21:37:27.554" v="407" actId="20577"/>
          <ac:graphicFrameMkLst>
            <pc:docMk/>
            <pc:sldMk cId="781050650" sldId="2856"/>
            <ac:graphicFrameMk id="4" creationId="{405ADE95-74F3-E248-9762-1EA17D373EA1}"/>
          </ac:graphicFrameMkLst>
        </pc:graphicFrameChg>
      </pc:sldChg>
      <pc:sldChg chg="modSp mod">
        <pc:chgData name="Lilith Pokorra" userId="29887f1b-b715-413d-8f68-9084865f2962" providerId="ADAL" clId="{C8549443-0699-4670-A019-EFEF75EBBD18}" dt="2024-10-29T14:55:51.247" v="3709" actId="20577"/>
        <pc:sldMkLst>
          <pc:docMk/>
          <pc:sldMk cId="1863211647" sldId="2861"/>
        </pc:sldMkLst>
        <pc:spChg chg="mod">
          <ac:chgData name="Lilith Pokorra" userId="29887f1b-b715-413d-8f68-9084865f2962" providerId="ADAL" clId="{C8549443-0699-4670-A019-EFEF75EBBD18}" dt="2024-10-29T14:55:51.247" v="3709" actId="20577"/>
          <ac:spMkLst>
            <pc:docMk/>
            <pc:sldMk cId="1863211647" sldId="2861"/>
            <ac:spMk id="5" creationId="{5C65D83D-16B8-824C-AD1A-8831AC2486F6}"/>
          </ac:spMkLst>
        </pc:spChg>
        <pc:graphicFrameChg chg="mod modGraphic">
          <ac:chgData name="Lilith Pokorra" userId="29887f1b-b715-413d-8f68-9084865f2962" providerId="ADAL" clId="{C8549443-0699-4670-A019-EFEF75EBBD18}" dt="2024-10-28T22:11:02.343" v="1867"/>
          <ac:graphicFrameMkLst>
            <pc:docMk/>
            <pc:sldMk cId="1863211647" sldId="2861"/>
            <ac:graphicFrameMk id="4" creationId="{405ADE95-74F3-E248-9762-1EA17D373EA1}"/>
          </ac:graphicFrameMkLst>
        </pc:graphicFrameChg>
      </pc:sldChg>
      <pc:sldChg chg="addSp delSp modSp mod">
        <pc:chgData name="Lilith Pokorra" userId="29887f1b-b715-413d-8f68-9084865f2962" providerId="ADAL" clId="{C8549443-0699-4670-A019-EFEF75EBBD18}" dt="2024-10-28T19:09:15.377" v="221"/>
        <pc:sldMkLst>
          <pc:docMk/>
          <pc:sldMk cId="2222561500" sldId="2887"/>
        </pc:sldMkLst>
        <pc:spChg chg="mod">
          <ac:chgData name="Lilith Pokorra" userId="29887f1b-b715-413d-8f68-9084865f2962" providerId="ADAL" clId="{C8549443-0699-4670-A019-EFEF75EBBD18}" dt="2024-10-28T19:09:15.377" v="221"/>
          <ac:spMkLst>
            <pc:docMk/>
            <pc:sldMk cId="2222561500" sldId="2887"/>
            <ac:spMk id="2" creationId="{CA64338B-78CA-B941-A409-9D5E95B8D19F}"/>
          </ac:spMkLst>
        </pc:spChg>
        <pc:spChg chg="ord">
          <ac:chgData name="Lilith Pokorra" userId="29887f1b-b715-413d-8f68-9084865f2962" providerId="ADAL" clId="{C8549443-0699-4670-A019-EFEF75EBBD18}" dt="2024-10-28T19:09:04.750" v="220" actId="166"/>
          <ac:spMkLst>
            <pc:docMk/>
            <pc:sldMk cId="2222561500" sldId="2887"/>
            <ac:spMk id="10" creationId="{1FFB46A6-895A-91C8-B941-E8E8BE89A0D5}"/>
          </ac:spMkLst>
        </pc:spChg>
        <pc:spChg chg="ord">
          <ac:chgData name="Lilith Pokorra" userId="29887f1b-b715-413d-8f68-9084865f2962" providerId="ADAL" clId="{C8549443-0699-4670-A019-EFEF75EBBD18}" dt="2024-10-28T19:09:00.221" v="218" actId="170"/>
          <ac:spMkLst>
            <pc:docMk/>
            <pc:sldMk cId="2222561500" sldId="2887"/>
            <ac:spMk id="11" creationId="{FE8051AD-748C-7543-8A1C-5D334EE89DD9}"/>
          </ac:spMkLst>
        </pc:spChg>
        <pc:picChg chg="del">
          <ac:chgData name="Lilith Pokorra" userId="29887f1b-b715-413d-8f68-9084865f2962" providerId="ADAL" clId="{C8549443-0699-4670-A019-EFEF75EBBD18}" dt="2024-10-28T19:08:32.946" v="204" actId="478"/>
          <ac:picMkLst>
            <pc:docMk/>
            <pc:sldMk cId="2222561500" sldId="2887"/>
            <ac:picMk id="4" creationId="{D08B5329-76B1-9658-1674-E1EE7D42EB9A}"/>
          </ac:picMkLst>
        </pc:picChg>
        <pc:picChg chg="del">
          <ac:chgData name="Lilith Pokorra" userId="29887f1b-b715-413d-8f68-9084865f2962" providerId="ADAL" clId="{C8549443-0699-4670-A019-EFEF75EBBD18}" dt="2024-10-28T19:08:32.946" v="204" actId="478"/>
          <ac:picMkLst>
            <pc:docMk/>
            <pc:sldMk cId="2222561500" sldId="2887"/>
            <ac:picMk id="15" creationId="{6B5B4302-AFC2-F88C-7054-03BE1EA1638C}"/>
          </ac:picMkLst>
        </pc:picChg>
        <pc:picChg chg="add mod ord">
          <ac:chgData name="Lilith Pokorra" userId="29887f1b-b715-413d-8f68-9084865f2962" providerId="ADAL" clId="{C8549443-0699-4670-A019-EFEF75EBBD18}" dt="2024-10-28T19:09:00.585" v="219" actId="167"/>
          <ac:picMkLst>
            <pc:docMk/>
            <pc:sldMk cId="2222561500" sldId="2887"/>
            <ac:picMk id="16" creationId="{17DEC4A8-F15D-1CBF-E4C4-6835EE276711}"/>
          </ac:picMkLst>
        </pc:picChg>
      </pc:sldChg>
      <pc:sldChg chg="modSp mod">
        <pc:chgData name="Lilith Pokorra" userId="29887f1b-b715-413d-8f68-9084865f2962" providerId="ADAL" clId="{C8549443-0699-4670-A019-EFEF75EBBD18}" dt="2024-10-29T15:03:42.594" v="3732" actId="20577"/>
        <pc:sldMkLst>
          <pc:docMk/>
          <pc:sldMk cId="1074207358" sldId="3491"/>
        </pc:sldMkLst>
        <pc:spChg chg="mod">
          <ac:chgData name="Lilith Pokorra" userId="29887f1b-b715-413d-8f68-9084865f2962" providerId="ADAL" clId="{C8549443-0699-4670-A019-EFEF75EBBD18}" dt="2024-10-29T15:03:36.421" v="3730" actId="14100"/>
          <ac:spMkLst>
            <pc:docMk/>
            <pc:sldMk cId="1074207358" sldId="3491"/>
            <ac:spMk id="2" creationId="{2F17DA15-8B9A-D181-2D1E-4B35311F5A30}"/>
          </ac:spMkLst>
        </pc:spChg>
        <pc:spChg chg="mod">
          <ac:chgData name="Lilith Pokorra" userId="29887f1b-b715-413d-8f68-9084865f2962" providerId="ADAL" clId="{C8549443-0699-4670-A019-EFEF75EBBD18}" dt="2024-10-29T15:03:30.549" v="3729" actId="14100"/>
          <ac:spMkLst>
            <pc:docMk/>
            <pc:sldMk cId="1074207358" sldId="3491"/>
            <ac:spMk id="5" creationId="{2F470F9D-DA8F-054A-848A-44C1172838E1}"/>
          </ac:spMkLst>
        </pc:spChg>
        <pc:graphicFrameChg chg="modGraphic">
          <ac:chgData name="Lilith Pokorra" userId="29887f1b-b715-413d-8f68-9084865f2962" providerId="ADAL" clId="{C8549443-0699-4670-A019-EFEF75EBBD18}" dt="2024-10-29T15:03:42.594" v="3732" actId="20577"/>
          <ac:graphicFrameMkLst>
            <pc:docMk/>
            <pc:sldMk cId="1074207358" sldId="3491"/>
            <ac:graphicFrameMk id="4" creationId="{405ADE95-74F3-E248-9762-1EA17D373EA1}"/>
          </ac:graphicFrameMkLst>
        </pc:graphicFrameChg>
      </pc:sldChg>
      <pc:sldChg chg="addSp delSp modSp mod modNotesTx">
        <pc:chgData name="Lilith Pokorra" userId="29887f1b-b715-413d-8f68-9084865f2962" providerId="ADAL" clId="{C8549443-0699-4670-A019-EFEF75EBBD18}" dt="2024-10-29T15:21:55.285" v="3756" actId="20577"/>
        <pc:sldMkLst>
          <pc:docMk/>
          <pc:sldMk cId="1692347072" sldId="3494"/>
        </pc:sldMkLst>
        <pc:spChg chg="add mod">
          <ac:chgData name="Lilith Pokorra" userId="29887f1b-b715-413d-8f68-9084865f2962" providerId="ADAL" clId="{C8549443-0699-4670-A019-EFEF75EBBD18}" dt="2024-10-28T18:52:44.834" v="2"/>
          <ac:spMkLst>
            <pc:docMk/>
            <pc:sldMk cId="1692347072" sldId="3494"/>
            <ac:spMk id="3" creationId="{93768706-AEBC-DDC5-7090-0138E805685E}"/>
          </ac:spMkLst>
        </pc:spChg>
        <pc:spChg chg="add mod">
          <ac:chgData name="Lilith Pokorra" userId="29887f1b-b715-413d-8f68-9084865f2962" providerId="ADAL" clId="{C8549443-0699-4670-A019-EFEF75EBBD18}" dt="2024-10-28T18:52:52.799" v="3" actId="1076"/>
          <ac:spMkLst>
            <pc:docMk/>
            <pc:sldMk cId="1692347072" sldId="3494"/>
            <ac:spMk id="5" creationId="{D60B5B37-114A-CC76-C703-B2AC6B539C9F}"/>
          </ac:spMkLst>
        </pc:spChg>
        <pc:spChg chg="add del mod">
          <ac:chgData name="Lilith Pokorra" userId="29887f1b-b715-413d-8f68-9084865f2962" providerId="ADAL" clId="{C8549443-0699-4670-A019-EFEF75EBBD18}" dt="2024-10-28T18:57:19.414" v="40" actId="478"/>
          <ac:spMkLst>
            <pc:docMk/>
            <pc:sldMk cId="1692347072" sldId="3494"/>
            <ac:spMk id="6" creationId="{40B87A56-B99E-3217-AF1A-8F3F050836D3}"/>
          </ac:spMkLst>
        </pc:spChg>
        <pc:spChg chg="add del mod">
          <ac:chgData name="Lilith Pokorra" userId="29887f1b-b715-413d-8f68-9084865f2962" providerId="ADAL" clId="{C8549443-0699-4670-A019-EFEF75EBBD18}" dt="2024-10-28T19:00:12.625" v="74" actId="478"/>
          <ac:spMkLst>
            <pc:docMk/>
            <pc:sldMk cId="1692347072" sldId="3494"/>
            <ac:spMk id="11" creationId="{B55F2E61-064C-7F80-479A-85E1A8B70F6E}"/>
          </ac:spMkLst>
        </pc:spChg>
        <pc:spChg chg="add del mod">
          <ac:chgData name="Lilith Pokorra" userId="29887f1b-b715-413d-8f68-9084865f2962" providerId="ADAL" clId="{C8549443-0699-4670-A019-EFEF75EBBD18}" dt="2024-10-28T19:00:12.625" v="74" actId="478"/>
          <ac:spMkLst>
            <pc:docMk/>
            <pc:sldMk cId="1692347072" sldId="3494"/>
            <ac:spMk id="13" creationId="{E9A45D30-E615-20B9-67DE-ABB5C609F20E}"/>
          </ac:spMkLst>
        </pc:spChg>
        <pc:spChg chg="add mod">
          <ac:chgData name="Lilith Pokorra" userId="29887f1b-b715-413d-8f68-9084865f2962" providerId="ADAL" clId="{C8549443-0699-4670-A019-EFEF75EBBD18}" dt="2024-10-28T18:54:19.059" v="7" actId="14100"/>
          <ac:spMkLst>
            <pc:docMk/>
            <pc:sldMk cId="1692347072" sldId="3494"/>
            <ac:spMk id="16" creationId="{FD92B4AA-FD64-0586-3A0A-DC99B5D6D00F}"/>
          </ac:spMkLst>
        </pc:spChg>
        <pc:spChg chg="add del mod">
          <ac:chgData name="Lilith Pokorra" userId="29887f1b-b715-413d-8f68-9084865f2962" providerId="ADAL" clId="{C8549443-0699-4670-A019-EFEF75EBBD18}" dt="2024-10-28T18:57:23.798" v="42" actId="478"/>
          <ac:spMkLst>
            <pc:docMk/>
            <pc:sldMk cId="1692347072" sldId="3494"/>
            <ac:spMk id="18" creationId="{1F7FD106-4E8F-20E8-6389-F1AA113E8509}"/>
          </ac:spMkLst>
        </pc:spChg>
        <pc:spChg chg="mod">
          <ac:chgData name="Lilith Pokorra" userId="29887f1b-b715-413d-8f68-9084865f2962" providerId="ADAL" clId="{C8549443-0699-4670-A019-EFEF75EBBD18}" dt="2024-10-28T19:02:45.802" v="98"/>
          <ac:spMkLst>
            <pc:docMk/>
            <pc:sldMk cId="1692347072" sldId="3494"/>
            <ac:spMk id="23" creationId="{A68FE045-60FD-A2A1-69C1-E3CD7DB0E70D}"/>
          </ac:spMkLst>
        </pc:spChg>
        <pc:spChg chg="mod">
          <ac:chgData name="Lilith Pokorra" userId="29887f1b-b715-413d-8f68-9084865f2962" providerId="ADAL" clId="{C8549443-0699-4670-A019-EFEF75EBBD18}" dt="2024-10-28T19:02:45.802" v="98"/>
          <ac:spMkLst>
            <pc:docMk/>
            <pc:sldMk cId="1692347072" sldId="3494"/>
            <ac:spMk id="27" creationId="{539186E3-E00F-0AD4-6CC9-F84F2DBEB39B}"/>
          </ac:spMkLst>
        </pc:spChg>
        <pc:spChg chg="mod">
          <ac:chgData name="Lilith Pokorra" userId="29887f1b-b715-413d-8f68-9084865f2962" providerId="ADAL" clId="{C8549443-0699-4670-A019-EFEF75EBBD18}" dt="2024-10-28T19:02:45.802" v="98"/>
          <ac:spMkLst>
            <pc:docMk/>
            <pc:sldMk cId="1692347072" sldId="3494"/>
            <ac:spMk id="28" creationId="{1638889D-E6D0-C055-1E21-F24B8054C280}"/>
          </ac:spMkLst>
        </pc:spChg>
        <pc:spChg chg="mod">
          <ac:chgData name="Lilith Pokorra" userId="29887f1b-b715-413d-8f68-9084865f2962" providerId="ADAL" clId="{C8549443-0699-4670-A019-EFEF75EBBD18}" dt="2024-10-28T19:02:45.802" v="98"/>
          <ac:spMkLst>
            <pc:docMk/>
            <pc:sldMk cId="1692347072" sldId="3494"/>
            <ac:spMk id="29" creationId="{00701A86-5ACF-3FB3-6AB7-23636E4D4E20}"/>
          </ac:spMkLst>
        </pc:spChg>
        <pc:spChg chg="mod">
          <ac:chgData name="Lilith Pokorra" userId="29887f1b-b715-413d-8f68-9084865f2962" providerId="ADAL" clId="{C8549443-0699-4670-A019-EFEF75EBBD18}" dt="2024-10-28T19:02:45.802" v="98"/>
          <ac:spMkLst>
            <pc:docMk/>
            <pc:sldMk cId="1692347072" sldId="3494"/>
            <ac:spMk id="30" creationId="{12C204AC-BCE1-8053-3E12-FAB645DA842F}"/>
          </ac:spMkLst>
        </pc:spChg>
        <pc:spChg chg="mod">
          <ac:chgData name="Lilith Pokorra" userId="29887f1b-b715-413d-8f68-9084865f2962" providerId="ADAL" clId="{C8549443-0699-4670-A019-EFEF75EBBD18}" dt="2024-10-28T19:02:45.802" v="98"/>
          <ac:spMkLst>
            <pc:docMk/>
            <pc:sldMk cId="1692347072" sldId="3494"/>
            <ac:spMk id="31" creationId="{0277C53E-DFB1-DD07-759E-20B820B7FDC3}"/>
          </ac:spMkLst>
        </pc:spChg>
        <pc:spChg chg="mod">
          <ac:chgData name="Lilith Pokorra" userId="29887f1b-b715-413d-8f68-9084865f2962" providerId="ADAL" clId="{C8549443-0699-4670-A019-EFEF75EBBD18}" dt="2024-10-28T19:02:45.802" v="98"/>
          <ac:spMkLst>
            <pc:docMk/>
            <pc:sldMk cId="1692347072" sldId="3494"/>
            <ac:spMk id="32" creationId="{46A22327-F374-1077-55D7-C354B833D224}"/>
          </ac:spMkLst>
        </pc:spChg>
        <pc:grpChg chg="add del mod">
          <ac:chgData name="Lilith Pokorra" userId="29887f1b-b715-413d-8f68-9084865f2962" providerId="ADAL" clId="{C8549443-0699-4670-A019-EFEF75EBBD18}" dt="2024-10-28T19:02:47.170" v="99" actId="478"/>
          <ac:grpSpMkLst>
            <pc:docMk/>
            <pc:sldMk cId="1692347072" sldId="3494"/>
            <ac:grpSpMk id="22" creationId="{22DB10D7-1D32-7DD1-36D3-6CF79E95629D}"/>
          </ac:grpSpMkLst>
        </pc:grpChg>
        <pc:grpChg chg="mod">
          <ac:chgData name="Lilith Pokorra" userId="29887f1b-b715-413d-8f68-9084865f2962" providerId="ADAL" clId="{C8549443-0699-4670-A019-EFEF75EBBD18}" dt="2024-10-28T19:02:45.802" v="98"/>
          <ac:grpSpMkLst>
            <pc:docMk/>
            <pc:sldMk cId="1692347072" sldId="3494"/>
            <ac:grpSpMk id="24" creationId="{1C4C9D89-69EE-9D9E-7D0F-655E69B7867C}"/>
          </ac:grpSpMkLst>
        </pc:grpChg>
        <pc:grpChg chg="mod">
          <ac:chgData name="Lilith Pokorra" userId="29887f1b-b715-413d-8f68-9084865f2962" providerId="ADAL" clId="{C8549443-0699-4670-A019-EFEF75EBBD18}" dt="2024-10-28T19:02:45.802" v="98"/>
          <ac:grpSpMkLst>
            <pc:docMk/>
            <pc:sldMk cId="1692347072" sldId="3494"/>
            <ac:grpSpMk id="25" creationId="{224D39E4-E3E9-CDA8-CBAE-B256503BC53C}"/>
          </ac:grpSpMkLst>
        </pc:grpChg>
        <pc:grpChg chg="mod">
          <ac:chgData name="Lilith Pokorra" userId="29887f1b-b715-413d-8f68-9084865f2962" providerId="ADAL" clId="{C8549443-0699-4670-A019-EFEF75EBBD18}" dt="2024-10-28T19:02:45.802" v="98"/>
          <ac:grpSpMkLst>
            <pc:docMk/>
            <pc:sldMk cId="1692347072" sldId="3494"/>
            <ac:grpSpMk id="26" creationId="{507F2EF2-F2DE-1F7D-5C0E-4DE399C9A162}"/>
          </ac:grpSpMkLst>
        </pc:grpChg>
        <pc:picChg chg="add del mod">
          <ac:chgData name="Lilith Pokorra" userId="29887f1b-b715-413d-8f68-9084865f2962" providerId="ADAL" clId="{C8549443-0699-4670-A019-EFEF75EBBD18}" dt="2024-10-28T18:57:21.317" v="41" actId="478"/>
          <ac:picMkLst>
            <pc:docMk/>
            <pc:sldMk cId="1692347072" sldId="3494"/>
            <ac:picMk id="2" creationId="{0B60DAF6-6861-57D5-1539-8A0707D1F2C4}"/>
          </ac:picMkLst>
        </pc:picChg>
        <pc:picChg chg="add del mod">
          <ac:chgData name="Lilith Pokorra" userId="29887f1b-b715-413d-8f68-9084865f2962" providerId="ADAL" clId="{C8549443-0699-4670-A019-EFEF75EBBD18}" dt="2024-10-28T19:00:12.625" v="74" actId="478"/>
          <ac:picMkLst>
            <pc:docMk/>
            <pc:sldMk cId="1692347072" sldId="3494"/>
            <ac:picMk id="4" creationId="{3C52AC4B-C9A9-2CFA-E7D0-67D310E4B773}"/>
          </ac:picMkLst>
        </pc:picChg>
        <pc:picChg chg="add del mod">
          <ac:chgData name="Lilith Pokorra" userId="29887f1b-b715-413d-8f68-9084865f2962" providerId="ADAL" clId="{C8549443-0699-4670-A019-EFEF75EBBD18}" dt="2024-10-28T18:57:03.878" v="35" actId="478"/>
          <ac:picMkLst>
            <pc:docMk/>
            <pc:sldMk cId="1692347072" sldId="3494"/>
            <ac:picMk id="14" creationId="{283B8BD3-BB0C-73AD-B45D-C91344D23124}"/>
          </ac:picMkLst>
        </pc:picChg>
        <pc:picChg chg="add del mod">
          <ac:chgData name="Lilith Pokorra" userId="29887f1b-b715-413d-8f68-9084865f2962" providerId="ADAL" clId="{C8549443-0699-4670-A019-EFEF75EBBD18}" dt="2024-10-28T19:00:12.625" v="74" actId="478"/>
          <ac:picMkLst>
            <pc:docMk/>
            <pc:sldMk cId="1692347072" sldId="3494"/>
            <ac:picMk id="15" creationId="{292EFBEC-4266-E86A-5655-0082CF236A8C}"/>
          </ac:picMkLst>
        </pc:picChg>
        <pc:picChg chg="add mod">
          <ac:chgData name="Lilith Pokorra" userId="29887f1b-b715-413d-8f68-9084865f2962" providerId="ADAL" clId="{C8549443-0699-4670-A019-EFEF75EBBD18}" dt="2024-10-28T18:57:39.802" v="48" actId="1076"/>
          <ac:picMkLst>
            <pc:docMk/>
            <pc:sldMk cId="1692347072" sldId="3494"/>
            <ac:picMk id="20" creationId="{8C342D8B-08C3-51E6-DF9A-29137E3E1E81}"/>
          </ac:picMkLst>
        </pc:picChg>
        <pc:picChg chg="add mod">
          <ac:chgData name="Lilith Pokorra" userId="29887f1b-b715-413d-8f68-9084865f2962" providerId="ADAL" clId="{C8549443-0699-4670-A019-EFEF75EBBD18}" dt="2024-10-28T19:00:16.121" v="76" actId="1076"/>
          <ac:picMkLst>
            <pc:docMk/>
            <pc:sldMk cId="1692347072" sldId="3494"/>
            <ac:picMk id="21" creationId="{1BAFC715-7D48-107C-628F-235BD2095283}"/>
          </ac:picMkLst>
        </pc:picChg>
      </pc:sldChg>
      <pc:sldChg chg="del">
        <pc:chgData name="Lilith Pokorra" userId="29887f1b-b715-413d-8f68-9084865f2962" providerId="ADAL" clId="{C8549443-0699-4670-A019-EFEF75EBBD18}" dt="2024-10-28T21:51:43.254" v="752" actId="2696"/>
        <pc:sldMkLst>
          <pc:docMk/>
          <pc:sldMk cId="1683217919" sldId="3497"/>
        </pc:sldMkLst>
      </pc:sldChg>
      <pc:sldChg chg="del">
        <pc:chgData name="Lilith Pokorra" userId="29887f1b-b715-413d-8f68-9084865f2962" providerId="ADAL" clId="{C8549443-0699-4670-A019-EFEF75EBBD18}" dt="2024-10-28T21:37:17.951" v="403" actId="2696"/>
        <pc:sldMkLst>
          <pc:docMk/>
          <pc:sldMk cId="4084093312" sldId="3502"/>
        </pc:sldMkLst>
      </pc:sldChg>
      <pc:sldChg chg="add del">
        <pc:chgData name="Lilith Pokorra" userId="29887f1b-b715-413d-8f68-9084865f2962" providerId="ADAL" clId="{C8549443-0699-4670-A019-EFEF75EBBD18}" dt="2024-10-28T21:56:24.610" v="781" actId="2696"/>
        <pc:sldMkLst>
          <pc:docMk/>
          <pc:sldMk cId="4248980096" sldId="3503"/>
        </pc:sldMkLst>
      </pc:sldChg>
      <pc:sldChg chg="del">
        <pc:chgData name="Lilith Pokorra" userId="29887f1b-b715-413d-8f68-9084865f2962" providerId="ADAL" clId="{C8549443-0699-4670-A019-EFEF75EBBD18}" dt="2024-10-28T22:23:48.261" v="2200" actId="2696"/>
        <pc:sldMkLst>
          <pc:docMk/>
          <pc:sldMk cId="951138121" sldId="3505"/>
        </pc:sldMkLst>
      </pc:sldChg>
      <pc:sldChg chg="del">
        <pc:chgData name="Lilith Pokorra" userId="29887f1b-b715-413d-8f68-9084865f2962" providerId="ADAL" clId="{C8549443-0699-4670-A019-EFEF75EBBD18}" dt="2024-10-28T21:56:48.885" v="784" actId="2696"/>
        <pc:sldMkLst>
          <pc:docMk/>
          <pc:sldMk cId="1921446368" sldId="3551"/>
        </pc:sldMkLst>
      </pc:sldChg>
      <pc:sldChg chg="addSp delSp modSp del mod ord">
        <pc:chgData name="Lilith Pokorra" userId="29887f1b-b715-413d-8f68-9084865f2962" providerId="ADAL" clId="{C8549443-0699-4670-A019-EFEF75EBBD18}" dt="2024-10-28T19:01:35.420" v="90" actId="2696"/>
        <pc:sldMkLst>
          <pc:docMk/>
          <pc:sldMk cId="95492256" sldId="3607"/>
        </pc:sldMkLst>
        <pc:spChg chg="mod">
          <ac:chgData name="Lilith Pokorra" userId="29887f1b-b715-413d-8f68-9084865f2962" providerId="ADAL" clId="{C8549443-0699-4670-A019-EFEF75EBBD18}" dt="2024-10-28T18:52:37.134" v="1" actId="1076"/>
          <ac:spMkLst>
            <pc:docMk/>
            <pc:sldMk cId="95492256" sldId="3607"/>
            <ac:spMk id="3" creationId="{97044F01-D84E-D09A-73C0-EAABE8F12A67}"/>
          </ac:spMkLst>
        </pc:spChg>
        <pc:spChg chg="del">
          <ac:chgData name="Lilith Pokorra" userId="29887f1b-b715-413d-8f68-9084865f2962" providerId="ADAL" clId="{C8549443-0699-4670-A019-EFEF75EBBD18}" dt="2024-10-28T18:59:19.755" v="57" actId="478"/>
          <ac:spMkLst>
            <pc:docMk/>
            <pc:sldMk cId="95492256" sldId="3607"/>
            <ac:spMk id="106" creationId="{8D35F471-8999-7794-C9ED-65E75D11D650}"/>
          </ac:spMkLst>
        </pc:spChg>
        <pc:spChg chg="del mod">
          <ac:chgData name="Lilith Pokorra" userId="29887f1b-b715-413d-8f68-9084865f2962" providerId="ADAL" clId="{C8549443-0699-4670-A019-EFEF75EBBD18}" dt="2024-10-28T18:59:18.551" v="56" actId="478"/>
          <ac:spMkLst>
            <pc:docMk/>
            <pc:sldMk cId="95492256" sldId="3607"/>
            <ac:spMk id="107" creationId="{F6C95EBD-3854-B31F-9532-826DA59BEEC9}"/>
          </ac:spMkLst>
        </pc:spChg>
        <pc:picChg chg="del">
          <ac:chgData name="Lilith Pokorra" userId="29887f1b-b715-413d-8f68-9084865f2962" providerId="ADAL" clId="{C8549443-0699-4670-A019-EFEF75EBBD18}" dt="2024-10-28T18:59:20.826" v="58" actId="478"/>
          <ac:picMkLst>
            <pc:docMk/>
            <pc:sldMk cId="95492256" sldId="3607"/>
            <ac:picMk id="6" creationId="{72A014CD-6616-6522-42AB-22BBF54597FE}"/>
          </ac:picMkLst>
        </pc:picChg>
        <pc:picChg chg="add mod">
          <ac:chgData name="Lilith Pokorra" userId="29887f1b-b715-413d-8f68-9084865f2962" providerId="ADAL" clId="{C8549443-0699-4670-A019-EFEF75EBBD18}" dt="2024-10-28T19:00:02.592" v="73" actId="14100"/>
          <ac:picMkLst>
            <pc:docMk/>
            <pc:sldMk cId="95492256" sldId="3607"/>
            <ac:picMk id="8" creationId="{58286C6A-B9F4-0D35-3B39-9B284F73F4AA}"/>
          </ac:picMkLst>
        </pc:picChg>
        <pc:picChg chg="del">
          <ac:chgData name="Lilith Pokorra" userId="29887f1b-b715-413d-8f68-9084865f2962" providerId="ADAL" clId="{C8549443-0699-4670-A019-EFEF75EBBD18}" dt="2024-10-28T18:59:17.067" v="54" actId="478"/>
          <ac:picMkLst>
            <pc:docMk/>
            <pc:sldMk cId="95492256" sldId="3607"/>
            <ac:picMk id="108" creationId="{07A932C6-C97A-84D9-4472-341561508BDE}"/>
          </ac:picMkLst>
        </pc:picChg>
      </pc:sldChg>
      <pc:sldChg chg="modSp del">
        <pc:chgData name="Lilith Pokorra" userId="29887f1b-b715-413d-8f68-9084865f2962" providerId="ADAL" clId="{C8549443-0699-4670-A019-EFEF75EBBD18}" dt="2024-10-28T22:09:04.983" v="1861" actId="2696"/>
        <pc:sldMkLst>
          <pc:docMk/>
          <pc:sldMk cId="3653819443" sldId="3608"/>
        </pc:sldMkLst>
        <pc:spChg chg="mod">
          <ac:chgData name="Lilith Pokorra" userId="29887f1b-b715-413d-8f68-9084865f2962" providerId="ADAL" clId="{C8549443-0699-4670-A019-EFEF75EBBD18}" dt="2024-10-28T21:57:20.214" v="785"/>
          <ac:spMkLst>
            <pc:docMk/>
            <pc:sldMk cId="3653819443" sldId="3608"/>
            <ac:spMk id="14" creationId="{48812804-7EEE-7D08-C348-DF8FAB66CA27}"/>
          </ac:spMkLst>
        </pc:spChg>
      </pc:sldChg>
      <pc:sldChg chg="addSp delSp modSp del mod ord modNotesTx">
        <pc:chgData name="Lilith Pokorra" userId="29887f1b-b715-413d-8f68-9084865f2962" providerId="ADAL" clId="{C8549443-0699-4670-A019-EFEF75EBBD18}" dt="2024-10-29T14:32:50.792" v="2748" actId="47"/>
        <pc:sldMkLst>
          <pc:docMk/>
          <pc:sldMk cId="1302389512" sldId="3609"/>
        </pc:sldMkLst>
        <pc:spChg chg="add del mod">
          <ac:chgData name="Lilith Pokorra" userId="29887f1b-b715-413d-8f68-9084865f2962" providerId="ADAL" clId="{C8549443-0699-4670-A019-EFEF75EBBD18}" dt="2024-10-28T22:18:22.513" v="1880" actId="478"/>
          <ac:spMkLst>
            <pc:docMk/>
            <pc:sldMk cId="1302389512" sldId="3609"/>
            <ac:spMk id="4" creationId="{78660579-6141-8D5A-B21A-7D54259C13E4}"/>
          </ac:spMkLst>
        </pc:spChg>
        <pc:picChg chg="mod">
          <ac:chgData name="Lilith Pokorra" userId="29887f1b-b715-413d-8f68-9084865f2962" providerId="ADAL" clId="{C8549443-0699-4670-A019-EFEF75EBBD18}" dt="2024-10-28T22:17:25.729" v="1874" actId="1076"/>
          <ac:picMkLst>
            <pc:docMk/>
            <pc:sldMk cId="1302389512" sldId="3609"/>
            <ac:picMk id="17" creationId="{14E51C2D-D8C6-7553-335D-27918ADCF1B6}"/>
          </ac:picMkLst>
        </pc:picChg>
      </pc:sldChg>
      <pc:sldChg chg="addSp delSp modSp add mod modTransition">
        <pc:chgData name="Lilith Pokorra" userId="29887f1b-b715-413d-8f68-9084865f2962" providerId="ADAL" clId="{C8549443-0699-4670-A019-EFEF75EBBD18}" dt="2024-10-29T14:27:54.308" v="2608" actId="20577"/>
        <pc:sldMkLst>
          <pc:docMk/>
          <pc:sldMk cId="3191888173" sldId="3610"/>
        </pc:sldMkLst>
        <pc:spChg chg="add del mod">
          <ac:chgData name="Lilith Pokorra" userId="29887f1b-b715-413d-8f68-9084865f2962" providerId="ADAL" clId="{C8549443-0699-4670-A019-EFEF75EBBD18}" dt="2024-10-28T21:42:42.910" v="751" actId="6549"/>
          <ac:spMkLst>
            <pc:docMk/>
            <pc:sldMk cId="3191888173" sldId="3610"/>
            <ac:spMk id="3" creationId="{81A412E4-7CF2-D916-5595-B9EB3C23B113}"/>
          </ac:spMkLst>
        </pc:spChg>
        <pc:spChg chg="add del">
          <ac:chgData name="Lilith Pokorra" userId="29887f1b-b715-413d-8f68-9084865f2962" providerId="ADAL" clId="{C8549443-0699-4670-A019-EFEF75EBBD18}" dt="2024-10-28T18:55:26.922" v="24" actId="478"/>
          <ac:spMkLst>
            <pc:docMk/>
            <pc:sldMk cId="3191888173" sldId="3610"/>
            <ac:spMk id="5" creationId="{536C1B0C-375C-CB72-CA99-25D049CEF98A}"/>
          </ac:spMkLst>
        </pc:spChg>
        <pc:spChg chg="del">
          <ac:chgData name="Lilith Pokorra" userId="29887f1b-b715-413d-8f68-9084865f2962" providerId="ADAL" clId="{C8549443-0699-4670-A019-EFEF75EBBD18}" dt="2024-10-28T18:55:22.047" v="22" actId="478"/>
          <ac:spMkLst>
            <pc:docMk/>
            <pc:sldMk cId="3191888173" sldId="3610"/>
            <ac:spMk id="6" creationId="{834EA65F-B529-9B43-D908-81CE062E7C11}"/>
          </ac:spMkLst>
        </pc:spChg>
        <pc:spChg chg="add del">
          <ac:chgData name="Lilith Pokorra" userId="29887f1b-b715-413d-8f68-9084865f2962" providerId="ADAL" clId="{C8549443-0699-4670-A019-EFEF75EBBD18}" dt="2024-10-28T18:55:22.047" v="22" actId="478"/>
          <ac:spMkLst>
            <pc:docMk/>
            <pc:sldMk cId="3191888173" sldId="3610"/>
            <ac:spMk id="11" creationId="{67BA4B56-8211-71E0-0738-E605DAA549C6}"/>
          </ac:spMkLst>
        </pc:spChg>
        <pc:spChg chg="add del">
          <ac:chgData name="Lilith Pokorra" userId="29887f1b-b715-413d-8f68-9084865f2962" providerId="ADAL" clId="{C8549443-0699-4670-A019-EFEF75EBBD18}" dt="2024-10-28T18:55:22.047" v="22" actId="478"/>
          <ac:spMkLst>
            <pc:docMk/>
            <pc:sldMk cId="3191888173" sldId="3610"/>
            <ac:spMk id="13" creationId="{69B577FC-A435-86D6-3031-D6A0762AE8AE}"/>
          </ac:spMkLst>
        </pc:spChg>
        <pc:spChg chg="add del">
          <ac:chgData name="Lilith Pokorra" userId="29887f1b-b715-413d-8f68-9084865f2962" providerId="ADAL" clId="{C8549443-0699-4670-A019-EFEF75EBBD18}" dt="2024-10-28T18:55:22.047" v="22" actId="478"/>
          <ac:spMkLst>
            <pc:docMk/>
            <pc:sldMk cId="3191888173" sldId="3610"/>
            <ac:spMk id="16" creationId="{52D543C4-76D6-D0B7-8699-BB1F934A7D04}"/>
          </ac:spMkLst>
        </pc:spChg>
        <pc:spChg chg="add del mod">
          <ac:chgData name="Lilith Pokorra" userId="29887f1b-b715-413d-8f68-9084865f2962" providerId="ADAL" clId="{C8549443-0699-4670-A019-EFEF75EBBD18}" dt="2024-10-28T18:55:24.829" v="23" actId="478"/>
          <ac:spMkLst>
            <pc:docMk/>
            <pc:sldMk cId="3191888173" sldId="3610"/>
            <ac:spMk id="18" creationId="{0B184DF6-FF8C-51E9-4358-696D014EF934}"/>
          </ac:spMkLst>
        </pc:spChg>
        <pc:spChg chg="add mod">
          <ac:chgData name="Lilith Pokorra" userId="29887f1b-b715-413d-8f68-9084865f2962" providerId="ADAL" clId="{C8549443-0699-4670-A019-EFEF75EBBD18}" dt="2024-10-28T19:02:08.306" v="91"/>
          <ac:spMkLst>
            <pc:docMk/>
            <pc:sldMk cId="3191888173" sldId="3610"/>
            <ac:spMk id="24" creationId="{0D58DB7A-3380-7A70-C51F-C19EA8F4B2AA}"/>
          </ac:spMkLst>
        </pc:spChg>
        <pc:spChg chg="add mod">
          <ac:chgData name="Lilith Pokorra" userId="29887f1b-b715-413d-8f68-9084865f2962" providerId="ADAL" clId="{C8549443-0699-4670-A019-EFEF75EBBD18}" dt="2024-10-28T19:02:08.306" v="91"/>
          <ac:spMkLst>
            <pc:docMk/>
            <pc:sldMk cId="3191888173" sldId="3610"/>
            <ac:spMk id="25" creationId="{378C1889-A816-25E0-6CF1-BD2ADF2BABDA}"/>
          </ac:spMkLst>
        </pc:spChg>
        <pc:spChg chg="add mod">
          <ac:chgData name="Lilith Pokorra" userId="29887f1b-b715-413d-8f68-9084865f2962" providerId="ADAL" clId="{C8549443-0699-4670-A019-EFEF75EBBD18}" dt="2024-10-28T19:02:08.306" v="91"/>
          <ac:spMkLst>
            <pc:docMk/>
            <pc:sldMk cId="3191888173" sldId="3610"/>
            <ac:spMk id="26" creationId="{73B2D786-885E-FAC8-C07B-43A7B550C4B0}"/>
          </ac:spMkLst>
        </pc:spChg>
        <pc:spChg chg="add mod">
          <ac:chgData name="Lilith Pokorra" userId="29887f1b-b715-413d-8f68-9084865f2962" providerId="ADAL" clId="{C8549443-0699-4670-A019-EFEF75EBBD18}" dt="2024-10-28T19:02:08.306" v="91"/>
          <ac:spMkLst>
            <pc:docMk/>
            <pc:sldMk cId="3191888173" sldId="3610"/>
            <ac:spMk id="27" creationId="{E30F44D6-24EE-5193-FC03-E8C7853AEE9D}"/>
          </ac:spMkLst>
        </pc:spChg>
        <pc:spChg chg="mod">
          <ac:chgData name="Lilith Pokorra" userId="29887f1b-b715-413d-8f68-9084865f2962" providerId="ADAL" clId="{C8549443-0699-4670-A019-EFEF75EBBD18}" dt="2024-10-28T19:02:18.137" v="92"/>
          <ac:spMkLst>
            <pc:docMk/>
            <pc:sldMk cId="3191888173" sldId="3610"/>
            <ac:spMk id="29" creationId="{D6DF8616-BBAC-DBEA-441E-B5B2F57D7BEA}"/>
          </ac:spMkLst>
        </pc:spChg>
        <pc:spChg chg="mod">
          <ac:chgData name="Lilith Pokorra" userId="29887f1b-b715-413d-8f68-9084865f2962" providerId="ADAL" clId="{C8549443-0699-4670-A019-EFEF75EBBD18}" dt="2024-10-28T19:02:18.137" v="92"/>
          <ac:spMkLst>
            <pc:docMk/>
            <pc:sldMk cId="3191888173" sldId="3610"/>
            <ac:spMk id="33" creationId="{E50E2875-DDD8-A1DA-6F4D-6FDC2D91A8F4}"/>
          </ac:spMkLst>
        </pc:spChg>
        <pc:spChg chg="mod">
          <ac:chgData name="Lilith Pokorra" userId="29887f1b-b715-413d-8f68-9084865f2962" providerId="ADAL" clId="{C8549443-0699-4670-A019-EFEF75EBBD18}" dt="2024-10-28T19:02:59.199" v="100" actId="207"/>
          <ac:spMkLst>
            <pc:docMk/>
            <pc:sldMk cId="3191888173" sldId="3610"/>
            <ac:spMk id="34" creationId="{2C26EDC3-A79F-8B7F-39D1-069ED0F8EB0F}"/>
          </ac:spMkLst>
        </pc:spChg>
        <pc:spChg chg="mod">
          <ac:chgData name="Lilith Pokorra" userId="29887f1b-b715-413d-8f68-9084865f2962" providerId="ADAL" clId="{C8549443-0699-4670-A019-EFEF75EBBD18}" dt="2024-10-28T19:02:18.137" v="92"/>
          <ac:spMkLst>
            <pc:docMk/>
            <pc:sldMk cId="3191888173" sldId="3610"/>
            <ac:spMk id="35" creationId="{4387887C-1D6B-D1EC-FB3B-7C7D6882C11A}"/>
          </ac:spMkLst>
        </pc:spChg>
        <pc:spChg chg="mod">
          <ac:chgData name="Lilith Pokorra" userId="29887f1b-b715-413d-8f68-9084865f2962" providerId="ADAL" clId="{C8549443-0699-4670-A019-EFEF75EBBD18}" dt="2024-10-28T19:02:18.137" v="92"/>
          <ac:spMkLst>
            <pc:docMk/>
            <pc:sldMk cId="3191888173" sldId="3610"/>
            <ac:spMk id="36" creationId="{C761E9BE-E50D-BCA1-9596-62A461295833}"/>
          </ac:spMkLst>
        </pc:spChg>
        <pc:spChg chg="mod">
          <ac:chgData name="Lilith Pokorra" userId="29887f1b-b715-413d-8f68-9084865f2962" providerId="ADAL" clId="{C8549443-0699-4670-A019-EFEF75EBBD18}" dt="2024-10-28T19:02:18.137" v="92"/>
          <ac:spMkLst>
            <pc:docMk/>
            <pc:sldMk cId="3191888173" sldId="3610"/>
            <ac:spMk id="37" creationId="{9DE60F57-494C-BDB3-C296-8A4F0B65D66D}"/>
          </ac:spMkLst>
        </pc:spChg>
        <pc:spChg chg="mod">
          <ac:chgData name="Lilith Pokorra" userId="29887f1b-b715-413d-8f68-9084865f2962" providerId="ADAL" clId="{C8549443-0699-4670-A019-EFEF75EBBD18}" dt="2024-10-29T14:27:54.308" v="2608" actId="20577"/>
          <ac:spMkLst>
            <pc:docMk/>
            <pc:sldMk cId="3191888173" sldId="3610"/>
            <ac:spMk id="38" creationId="{F64AA274-2742-8B38-F9BE-1E621DF20EEE}"/>
          </ac:spMkLst>
        </pc:spChg>
        <pc:spChg chg="add del mod">
          <ac:chgData name="Lilith Pokorra" userId="29887f1b-b715-413d-8f68-9084865f2962" providerId="ADAL" clId="{C8549443-0699-4670-A019-EFEF75EBBD18}" dt="2024-10-28T21:42:28.590" v="704" actId="478"/>
          <ac:spMkLst>
            <pc:docMk/>
            <pc:sldMk cId="3191888173" sldId="3610"/>
            <ac:spMk id="40" creationId="{2496FB87-2EF1-9739-3D1A-9A84FC1494BA}"/>
          </ac:spMkLst>
        </pc:spChg>
        <pc:grpChg chg="add mod">
          <ac:chgData name="Lilith Pokorra" userId="29887f1b-b715-413d-8f68-9084865f2962" providerId="ADAL" clId="{C8549443-0699-4670-A019-EFEF75EBBD18}" dt="2024-10-28T19:02:37.227" v="96" actId="1076"/>
          <ac:grpSpMkLst>
            <pc:docMk/>
            <pc:sldMk cId="3191888173" sldId="3610"/>
            <ac:grpSpMk id="28" creationId="{617D8D3C-88FE-7871-75D7-89DC9DE4C639}"/>
          </ac:grpSpMkLst>
        </pc:grpChg>
        <pc:grpChg chg="mod">
          <ac:chgData name="Lilith Pokorra" userId="29887f1b-b715-413d-8f68-9084865f2962" providerId="ADAL" clId="{C8549443-0699-4670-A019-EFEF75EBBD18}" dt="2024-10-28T19:02:18.137" v="92"/>
          <ac:grpSpMkLst>
            <pc:docMk/>
            <pc:sldMk cId="3191888173" sldId="3610"/>
            <ac:grpSpMk id="30" creationId="{4B6960AF-FBD3-AD64-E531-41FA71B4AA13}"/>
          </ac:grpSpMkLst>
        </pc:grpChg>
        <pc:grpChg chg="mod">
          <ac:chgData name="Lilith Pokorra" userId="29887f1b-b715-413d-8f68-9084865f2962" providerId="ADAL" clId="{C8549443-0699-4670-A019-EFEF75EBBD18}" dt="2024-10-28T19:02:18.137" v="92"/>
          <ac:grpSpMkLst>
            <pc:docMk/>
            <pc:sldMk cId="3191888173" sldId="3610"/>
            <ac:grpSpMk id="31" creationId="{070EC89B-1120-977D-8A86-9F8C96D43C08}"/>
          </ac:grpSpMkLst>
        </pc:grpChg>
        <pc:grpChg chg="mod">
          <ac:chgData name="Lilith Pokorra" userId="29887f1b-b715-413d-8f68-9084865f2962" providerId="ADAL" clId="{C8549443-0699-4670-A019-EFEF75EBBD18}" dt="2024-10-28T19:02:18.137" v="92"/>
          <ac:grpSpMkLst>
            <pc:docMk/>
            <pc:sldMk cId="3191888173" sldId="3610"/>
            <ac:grpSpMk id="32" creationId="{38F0E656-AAF0-173B-7203-CF575E47E51B}"/>
          </ac:grpSpMkLst>
        </pc:grpChg>
        <pc:picChg chg="del mod">
          <ac:chgData name="Lilith Pokorra" userId="29887f1b-b715-413d-8f68-9084865f2962" providerId="ADAL" clId="{C8549443-0699-4670-A019-EFEF75EBBD18}" dt="2024-10-28T18:55:22.047" v="22" actId="478"/>
          <ac:picMkLst>
            <pc:docMk/>
            <pc:sldMk cId="3191888173" sldId="3610"/>
            <ac:picMk id="2" creationId="{168B224D-380A-8B8D-DA64-BD9715754254}"/>
          </ac:picMkLst>
        </pc:picChg>
        <pc:picChg chg="add del">
          <ac:chgData name="Lilith Pokorra" userId="29887f1b-b715-413d-8f68-9084865f2962" providerId="ADAL" clId="{C8549443-0699-4670-A019-EFEF75EBBD18}" dt="2024-10-28T18:55:22.047" v="22" actId="478"/>
          <ac:picMkLst>
            <pc:docMk/>
            <pc:sldMk cId="3191888173" sldId="3610"/>
            <ac:picMk id="4" creationId="{8CC0264C-C971-3EF7-9D44-72244E7283FC}"/>
          </ac:picMkLst>
        </pc:picChg>
        <pc:picChg chg="del mod">
          <ac:chgData name="Lilith Pokorra" userId="29887f1b-b715-413d-8f68-9084865f2962" providerId="ADAL" clId="{C8549443-0699-4670-A019-EFEF75EBBD18}" dt="2024-10-28T18:55:22.047" v="22" actId="478"/>
          <ac:picMkLst>
            <pc:docMk/>
            <pc:sldMk cId="3191888173" sldId="3610"/>
            <ac:picMk id="14" creationId="{975E3438-A1D4-79D7-32D0-EAE490BD249D}"/>
          </ac:picMkLst>
        </pc:picChg>
        <pc:picChg chg="add del">
          <ac:chgData name="Lilith Pokorra" userId="29887f1b-b715-413d-8f68-9084865f2962" providerId="ADAL" clId="{C8549443-0699-4670-A019-EFEF75EBBD18}" dt="2024-10-28T18:55:22.047" v="22" actId="478"/>
          <ac:picMkLst>
            <pc:docMk/>
            <pc:sldMk cId="3191888173" sldId="3610"/>
            <ac:picMk id="15" creationId="{18274F8D-3B7C-D3C6-4117-B026767A5BAE}"/>
          </ac:picMkLst>
        </pc:picChg>
        <pc:picChg chg="add del mod">
          <ac:chgData name="Lilith Pokorra" userId="29887f1b-b715-413d-8f68-9084865f2962" providerId="ADAL" clId="{C8549443-0699-4670-A019-EFEF75EBBD18}" dt="2024-10-28T18:55:32.502" v="27" actId="478"/>
          <ac:picMkLst>
            <pc:docMk/>
            <pc:sldMk cId="3191888173" sldId="3610"/>
            <ac:picMk id="19" creationId="{B350422B-09B2-2FAB-61E7-0E919708411C}"/>
          </ac:picMkLst>
        </pc:picChg>
        <pc:picChg chg="add del mod">
          <ac:chgData name="Lilith Pokorra" userId="29887f1b-b715-413d-8f68-9084865f2962" providerId="ADAL" clId="{C8549443-0699-4670-A019-EFEF75EBBD18}" dt="2024-10-28T18:56:29.612" v="34" actId="478"/>
          <ac:picMkLst>
            <pc:docMk/>
            <pc:sldMk cId="3191888173" sldId="3610"/>
            <ac:picMk id="21" creationId="{4E2252BE-778B-0D2E-8618-D0A28C9EA97B}"/>
          </ac:picMkLst>
        </pc:picChg>
        <pc:picChg chg="add mod">
          <ac:chgData name="Lilith Pokorra" userId="29887f1b-b715-413d-8f68-9084865f2962" providerId="ADAL" clId="{C8549443-0699-4670-A019-EFEF75EBBD18}" dt="2024-10-28T18:57:57.971" v="53" actId="1076"/>
          <ac:picMkLst>
            <pc:docMk/>
            <pc:sldMk cId="3191888173" sldId="3610"/>
            <ac:picMk id="23" creationId="{6C43AC85-1771-119B-6BDF-364CFA03B249}"/>
          </ac:picMkLst>
        </pc:picChg>
      </pc:sldChg>
      <pc:sldChg chg="addSp delSp modSp add mod modTransition">
        <pc:chgData name="Lilith Pokorra" userId="29887f1b-b715-413d-8f68-9084865f2962" providerId="ADAL" clId="{C8549443-0699-4670-A019-EFEF75EBBD18}" dt="2024-10-29T14:28:04.758" v="2609" actId="20577"/>
        <pc:sldMkLst>
          <pc:docMk/>
          <pc:sldMk cId="3741700209" sldId="3611"/>
        </pc:sldMkLst>
        <pc:spChg chg="mod">
          <ac:chgData name="Lilith Pokorra" userId="29887f1b-b715-413d-8f68-9084865f2962" providerId="ADAL" clId="{C8549443-0699-4670-A019-EFEF75EBBD18}" dt="2024-10-28T21:42:21.827" v="701" actId="20577"/>
          <ac:spMkLst>
            <pc:docMk/>
            <pc:sldMk cId="3741700209" sldId="3611"/>
            <ac:spMk id="3" creationId="{81E17483-BF99-7FAD-1966-64C2029E6BC8}"/>
          </ac:spMkLst>
        </pc:spChg>
        <pc:spChg chg="mod">
          <ac:chgData name="Lilith Pokorra" userId="29887f1b-b715-413d-8f68-9084865f2962" providerId="ADAL" clId="{C8549443-0699-4670-A019-EFEF75EBBD18}" dt="2024-10-28T19:02:40.798" v="97"/>
          <ac:spMkLst>
            <pc:docMk/>
            <pc:sldMk cId="3741700209" sldId="3611"/>
            <ac:spMk id="4" creationId="{EDF23E54-4531-A80F-869A-0EA3123DDE9F}"/>
          </ac:spMkLst>
        </pc:spChg>
        <pc:spChg chg="mod">
          <ac:chgData name="Lilith Pokorra" userId="29887f1b-b715-413d-8f68-9084865f2962" providerId="ADAL" clId="{C8549443-0699-4670-A019-EFEF75EBBD18}" dt="2024-10-28T19:02:40.798" v="97"/>
          <ac:spMkLst>
            <pc:docMk/>
            <pc:sldMk cId="3741700209" sldId="3611"/>
            <ac:spMk id="13" creationId="{04B7C296-C10D-D3D1-0C9F-C57DC47089D0}"/>
          </ac:spMkLst>
        </pc:spChg>
        <pc:spChg chg="mod">
          <ac:chgData name="Lilith Pokorra" userId="29887f1b-b715-413d-8f68-9084865f2962" providerId="ADAL" clId="{C8549443-0699-4670-A019-EFEF75EBBD18}" dt="2024-10-28T19:03:03.126" v="101" actId="207"/>
          <ac:spMkLst>
            <pc:docMk/>
            <pc:sldMk cId="3741700209" sldId="3611"/>
            <ac:spMk id="14" creationId="{74FB798C-5968-6140-6D89-2C24CCDB8075}"/>
          </ac:spMkLst>
        </pc:spChg>
        <pc:spChg chg="mod">
          <ac:chgData name="Lilith Pokorra" userId="29887f1b-b715-413d-8f68-9084865f2962" providerId="ADAL" clId="{C8549443-0699-4670-A019-EFEF75EBBD18}" dt="2024-10-28T19:02:40.798" v="97"/>
          <ac:spMkLst>
            <pc:docMk/>
            <pc:sldMk cId="3741700209" sldId="3611"/>
            <ac:spMk id="15" creationId="{60B88669-0D64-67A9-3424-CD3E675506BF}"/>
          </ac:spMkLst>
        </pc:spChg>
        <pc:spChg chg="mod">
          <ac:chgData name="Lilith Pokorra" userId="29887f1b-b715-413d-8f68-9084865f2962" providerId="ADAL" clId="{C8549443-0699-4670-A019-EFEF75EBBD18}" dt="2024-10-28T19:02:40.798" v="97"/>
          <ac:spMkLst>
            <pc:docMk/>
            <pc:sldMk cId="3741700209" sldId="3611"/>
            <ac:spMk id="16" creationId="{F0A89363-B231-6E3E-198D-9BE0F7151DA5}"/>
          </ac:spMkLst>
        </pc:spChg>
        <pc:spChg chg="mod">
          <ac:chgData name="Lilith Pokorra" userId="29887f1b-b715-413d-8f68-9084865f2962" providerId="ADAL" clId="{C8549443-0699-4670-A019-EFEF75EBBD18}" dt="2024-10-28T19:02:40.798" v="97"/>
          <ac:spMkLst>
            <pc:docMk/>
            <pc:sldMk cId="3741700209" sldId="3611"/>
            <ac:spMk id="17" creationId="{26083B72-A6BF-7606-A8E8-BC7DE59F41CB}"/>
          </ac:spMkLst>
        </pc:spChg>
        <pc:spChg chg="mod">
          <ac:chgData name="Lilith Pokorra" userId="29887f1b-b715-413d-8f68-9084865f2962" providerId="ADAL" clId="{C8549443-0699-4670-A019-EFEF75EBBD18}" dt="2024-10-29T14:28:04.758" v="2609" actId="20577"/>
          <ac:spMkLst>
            <pc:docMk/>
            <pc:sldMk cId="3741700209" sldId="3611"/>
            <ac:spMk id="18" creationId="{50A999EA-84D9-A8D9-ED48-FBD8BD9C97B9}"/>
          </ac:spMkLst>
        </pc:spChg>
        <pc:grpChg chg="add mod">
          <ac:chgData name="Lilith Pokorra" userId="29887f1b-b715-413d-8f68-9084865f2962" providerId="ADAL" clId="{C8549443-0699-4670-A019-EFEF75EBBD18}" dt="2024-10-28T19:02:40.798" v="97"/>
          <ac:grpSpMkLst>
            <pc:docMk/>
            <pc:sldMk cId="3741700209" sldId="3611"/>
            <ac:grpSpMk id="2" creationId="{7AAC747A-9FED-02CB-29FA-730C58DAD210}"/>
          </ac:grpSpMkLst>
        </pc:grpChg>
        <pc:grpChg chg="mod">
          <ac:chgData name="Lilith Pokorra" userId="29887f1b-b715-413d-8f68-9084865f2962" providerId="ADAL" clId="{C8549443-0699-4670-A019-EFEF75EBBD18}" dt="2024-10-28T19:02:40.798" v="97"/>
          <ac:grpSpMkLst>
            <pc:docMk/>
            <pc:sldMk cId="3741700209" sldId="3611"/>
            <ac:grpSpMk id="5" creationId="{648B517A-117E-3E81-F9FE-B51BF979F809}"/>
          </ac:grpSpMkLst>
        </pc:grpChg>
        <pc:grpChg chg="mod">
          <ac:chgData name="Lilith Pokorra" userId="29887f1b-b715-413d-8f68-9084865f2962" providerId="ADAL" clId="{C8549443-0699-4670-A019-EFEF75EBBD18}" dt="2024-10-28T19:02:40.798" v="97"/>
          <ac:grpSpMkLst>
            <pc:docMk/>
            <pc:sldMk cId="3741700209" sldId="3611"/>
            <ac:grpSpMk id="6" creationId="{462A64CB-5A0D-BE4F-02D5-93B1DDE1DA92}"/>
          </ac:grpSpMkLst>
        </pc:grpChg>
        <pc:grpChg chg="mod">
          <ac:chgData name="Lilith Pokorra" userId="29887f1b-b715-413d-8f68-9084865f2962" providerId="ADAL" clId="{C8549443-0699-4670-A019-EFEF75EBBD18}" dt="2024-10-28T19:02:40.798" v="97"/>
          <ac:grpSpMkLst>
            <pc:docMk/>
            <pc:sldMk cId="3741700209" sldId="3611"/>
            <ac:grpSpMk id="11" creationId="{BCF0CAA8-4C68-BCC3-EE97-474FDBCD1149}"/>
          </ac:grpSpMkLst>
        </pc:grpChg>
        <pc:picChg chg="add del mod">
          <ac:chgData name="Lilith Pokorra" userId="29887f1b-b715-413d-8f68-9084865f2962" providerId="ADAL" clId="{C8549443-0699-4670-A019-EFEF75EBBD18}" dt="2024-10-28T19:00:47.169" v="83" actId="14826"/>
          <ac:picMkLst>
            <pc:docMk/>
            <pc:sldMk cId="3741700209" sldId="3611"/>
            <ac:picMk id="23" creationId="{581F58E3-EBB1-3C0F-16AC-4239A21CB41B}"/>
          </ac:picMkLst>
        </pc:picChg>
      </pc:sldChg>
      <pc:sldChg chg="addSp delSp modSp add mod modAnim modNotesTx">
        <pc:chgData name="Lilith Pokorra" userId="29887f1b-b715-413d-8f68-9084865f2962" providerId="ADAL" clId="{C8549443-0699-4670-A019-EFEF75EBBD18}" dt="2024-10-29T15:23:19.947" v="3758" actId="5793"/>
        <pc:sldMkLst>
          <pc:docMk/>
          <pc:sldMk cId="2940033197" sldId="3612"/>
        </pc:sldMkLst>
        <pc:spChg chg="del">
          <ac:chgData name="Lilith Pokorra" userId="29887f1b-b715-413d-8f68-9084865f2962" providerId="ADAL" clId="{C8549443-0699-4670-A019-EFEF75EBBD18}" dt="2024-10-28T21:42:09.763" v="699" actId="478"/>
          <ac:spMkLst>
            <pc:docMk/>
            <pc:sldMk cId="2940033197" sldId="3612"/>
            <ac:spMk id="3" creationId="{4FA70162-C481-CC76-72CD-55B4B5910D5D}"/>
          </ac:spMkLst>
        </pc:spChg>
        <pc:spChg chg="mod">
          <ac:chgData name="Lilith Pokorra" userId="29887f1b-b715-413d-8f68-9084865f2962" providerId="ADAL" clId="{C8549443-0699-4670-A019-EFEF75EBBD18}" dt="2024-10-29T14:28:11.200" v="2610" actId="20577"/>
          <ac:spMkLst>
            <pc:docMk/>
            <pc:sldMk cId="2940033197" sldId="3612"/>
            <ac:spMk id="18" creationId="{45520598-ABD5-B441-BDE1-A6AC82F23E85}"/>
          </ac:spMkLst>
        </pc:spChg>
        <pc:spChg chg="add mod">
          <ac:chgData name="Lilith Pokorra" userId="29887f1b-b715-413d-8f68-9084865f2962" providerId="ADAL" clId="{C8549443-0699-4670-A019-EFEF75EBBD18}" dt="2024-10-28T21:31:15.426" v="227" actId="1076"/>
          <ac:spMkLst>
            <pc:docMk/>
            <pc:sldMk cId="2940033197" sldId="3612"/>
            <ac:spMk id="19" creationId="{D5C9DAC3-ACF8-E12C-81B7-CA114E8BCA92}"/>
          </ac:spMkLst>
        </pc:spChg>
        <pc:spChg chg="add del mod">
          <ac:chgData name="Lilith Pokorra" userId="29887f1b-b715-413d-8f68-9084865f2962" providerId="ADAL" clId="{C8549443-0699-4670-A019-EFEF75EBBD18}" dt="2024-10-28T21:31:27.822" v="230" actId="478"/>
          <ac:spMkLst>
            <pc:docMk/>
            <pc:sldMk cId="2940033197" sldId="3612"/>
            <ac:spMk id="20" creationId="{D796E629-6091-735C-061A-AABA925764CA}"/>
          </ac:spMkLst>
        </pc:spChg>
        <pc:spChg chg="add del mod">
          <ac:chgData name="Lilith Pokorra" userId="29887f1b-b715-413d-8f68-9084865f2962" providerId="ADAL" clId="{C8549443-0699-4670-A019-EFEF75EBBD18}" dt="2024-10-28T21:31:27.822" v="230" actId="478"/>
          <ac:spMkLst>
            <pc:docMk/>
            <pc:sldMk cId="2940033197" sldId="3612"/>
            <ac:spMk id="22" creationId="{7E7B4999-AE93-B1E0-4B50-CDAFC098B4D4}"/>
          </ac:spMkLst>
        </pc:spChg>
        <pc:spChg chg="add del mod">
          <ac:chgData name="Lilith Pokorra" userId="29887f1b-b715-413d-8f68-9084865f2962" providerId="ADAL" clId="{C8549443-0699-4670-A019-EFEF75EBBD18}" dt="2024-10-28T21:32:30.850" v="249" actId="478"/>
          <ac:spMkLst>
            <pc:docMk/>
            <pc:sldMk cId="2940033197" sldId="3612"/>
            <ac:spMk id="24" creationId="{22BDCE61-E4DD-4F22-A6EE-5888A04B0028}"/>
          </ac:spMkLst>
        </pc:spChg>
        <pc:spChg chg="add mod">
          <ac:chgData name="Lilith Pokorra" userId="29887f1b-b715-413d-8f68-9084865f2962" providerId="ADAL" clId="{C8549443-0699-4670-A019-EFEF75EBBD18}" dt="2024-10-28T21:32:10.122" v="239" actId="164"/>
          <ac:spMkLst>
            <pc:docMk/>
            <pc:sldMk cId="2940033197" sldId="3612"/>
            <ac:spMk id="29" creationId="{9E0BA214-1245-E0AB-1FB5-5586BCA24273}"/>
          </ac:spMkLst>
        </pc:spChg>
        <pc:spChg chg="add mod">
          <ac:chgData name="Lilith Pokorra" userId="29887f1b-b715-413d-8f68-9084865f2962" providerId="ADAL" clId="{C8549443-0699-4670-A019-EFEF75EBBD18}" dt="2024-10-28T21:32:10.122" v="239" actId="164"/>
          <ac:spMkLst>
            <pc:docMk/>
            <pc:sldMk cId="2940033197" sldId="3612"/>
            <ac:spMk id="30" creationId="{931B5ED5-4D45-2F9C-3092-2758BA80448E}"/>
          </ac:spMkLst>
        </pc:spChg>
        <pc:spChg chg="add mod">
          <ac:chgData name="Lilith Pokorra" userId="29887f1b-b715-413d-8f68-9084865f2962" providerId="ADAL" clId="{C8549443-0699-4670-A019-EFEF75EBBD18}" dt="2024-10-28T21:32:10.122" v="239" actId="164"/>
          <ac:spMkLst>
            <pc:docMk/>
            <pc:sldMk cId="2940033197" sldId="3612"/>
            <ac:spMk id="32" creationId="{EF7F3007-91C0-0A85-8306-62EC600E3E7E}"/>
          </ac:spMkLst>
        </pc:spChg>
        <pc:spChg chg="add mod">
          <ac:chgData name="Lilith Pokorra" userId="29887f1b-b715-413d-8f68-9084865f2962" providerId="ADAL" clId="{C8549443-0699-4670-A019-EFEF75EBBD18}" dt="2024-10-28T21:32:10.122" v="239" actId="164"/>
          <ac:spMkLst>
            <pc:docMk/>
            <pc:sldMk cId="2940033197" sldId="3612"/>
            <ac:spMk id="33" creationId="{091BBBC5-FE41-6316-6CDE-72465C3425EA}"/>
          </ac:spMkLst>
        </pc:spChg>
        <pc:spChg chg="add del mod">
          <ac:chgData name="Lilith Pokorra" userId="29887f1b-b715-413d-8f68-9084865f2962" providerId="ADAL" clId="{C8549443-0699-4670-A019-EFEF75EBBD18}" dt="2024-10-28T21:32:25.440" v="245" actId="478"/>
          <ac:spMkLst>
            <pc:docMk/>
            <pc:sldMk cId="2940033197" sldId="3612"/>
            <ac:spMk id="36" creationId="{35E0C31B-0389-BA38-E097-A82107A9C834}"/>
          </ac:spMkLst>
        </pc:spChg>
        <pc:spChg chg="add mod">
          <ac:chgData name="Lilith Pokorra" userId="29887f1b-b715-413d-8f68-9084865f2962" providerId="ADAL" clId="{C8549443-0699-4670-A019-EFEF75EBBD18}" dt="2024-10-28T21:32:49.893" v="253"/>
          <ac:spMkLst>
            <pc:docMk/>
            <pc:sldMk cId="2940033197" sldId="3612"/>
            <ac:spMk id="39" creationId="{EE884746-7BC3-305D-B6E0-31ECA44116B8}"/>
          </ac:spMkLst>
        </pc:spChg>
        <pc:spChg chg="add mod">
          <ac:chgData name="Lilith Pokorra" userId="29887f1b-b715-413d-8f68-9084865f2962" providerId="ADAL" clId="{C8549443-0699-4670-A019-EFEF75EBBD18}" dt="2024-10-28T21:32:49.893" v="253"/>
          <ac:spMkLst>
            <pc:docMk/>
            <pc:sldMk cId="2940033197" sldId="3612"/>
            <ac:spMk id="40" creationId="{BECABEC0-8123-7F03-73A4-1072D99541D9}"/>
          </ac:spMkLst>
        </pc:spChg>
        <pc:spChg chg="add mod">
          <ac:chgData name="Lilith Pokorra" userId="29887f1b-b715-413d-8f68-9084865f2962" providerId="ADAL" clId="{C8549443-0699-4670-A019-EFEF75EBBD18}" dt="2024-10-28T21:32:49.893" v="253"/>
          <ac:spMkLst>
            <pc:docMk/>
            <pc:sldMk cId="2940033197" sldId="3612"/>
            <ac:spMk id="42" creationId="{D4BC336C-A9CB-5E1C-BB42-26B0ED1A5632}"/>
          </ac:spMkLst>
        </pc:spChg>
        <pc:spChg chg="add mod">
          <ac:chgData name="Lilith Pokorra" userId="29887f1b-b715-413d-8f68-9084865f2962" providerId="ADAL" clId="{C8549443-0699-4670-A019-EFEF75EBBD18}" dt="2024-10-28T21:32:49.893" v="253"/>
          <ac:spMkLst>
            <pc:docMk/>
            <pc:sldMk cId="2940033197" sldId="3612"/>
            <ac:spMk id="43" creationId="{2E44A716-9505-FF3C-2D4E-BD147AA6B5F3}"/>
          </ac:spMkLst>
        </pc:spChg>
        <pc:spChg chg="add mod">
          <ac:chgData name="Lilith Pokorra" userId="29887f1b-b715-413d-8f68-9084865f2962" providerId="ADAL" clId="{C8549443-0699-4670-A019-EFEF75EBBD18}" dt="2024-10-28T21:36:30.029" v="395" actId="164"/>
          <ac:spMkLst>
            <pc:docMk/>
            <pc:sldMk cId="2940033197" sldId="3612"/>
            <ac:spMk id="47" creationId="{15BEB4D1-4E31-62B7-AE6C-1A5273FC7CF8}"/>
          </ac:spMkLst>
        </pc:spChg>
        <pc:spChg chg="add mod">
          <ac:chgData name="Lilith Pokorra" userId="29887f1b-b715-413d-8f68-9084865f2962" providerId="ADAL" clId="{C8549443-0699-4670-A019-EFEF75EBBD18}" dt="2024-10-28T21:36:32.565" v="396" actId="164"/>
          <ac:spMkLst>
            <pc:docMk/>
            <pc:sldMk cId="2940033197" sldId="3612"/>
            <ac:spMk id="48" creationId="{ADC5440C-20AB-D2D5-BBC7-6BA827729D21}"/>
          </ac:spMkLst>
        </pc:spChg>
        <pc:spChg chg="add mod">
          <ac:chgData name="Lilith Pokorra" userId="29887f1b-b715-413d-8f68-9084865f2962" providerId="ADAL" clId="{C8549443-0699-4670-A019-EFEF75EBBD18}" dt="2024-10-28T21:36:34.076" v="397" actId="164"/>
          <ac:spMkLst>
            <pc:docMk/>
            <pc:sldMk cId="2940033197" sldId="3612"/>
            <ac:spMk id="49" creationId="{855536D6-2A30-929B-92AA-1B1045028586}"/>
          </ac:spMkLst>
        </pc:spChg>
        <pc:spChg chg="add del mod">
          <ac:chgData name="Lilith Pokorra" userId="29887f1b-b715-413d-8f68-9084865f2962" providerId="ADAL" clId="{C8549443-0699-4670-A019-EFEF75EBBD18}" dt="2024-10-28T21:42:12.518" v="700" actId="478"/>
          <ac:spMkLst>
            <pc:docMk/>
            <pc:sldMk cId="2940033197" sldId="3612"/>
            <ac:spMk id="54" creationId="{3CA2C159-B0AB-33DA-64EE-CD9C63D42F9A}"/>
          </ac:spMkLst>
        </pc:spChg>
        <pc:grpChg chg="add del mod">
          <ac:chgData name="Lilith Pokorra" userId="29887f1b-b715-413d-8f68-9084865f2962" providerId="ADAL" clId="{C8549443-0699-4670-A019-EFEF75EBBD18}" dt="2024-10-28T21:32:33.580" v="252" actId="478"/>
          <ac:grpSpMkLst>
            <pc:docMk/>
            <pc:sldMk cId="2940033197" sldId="3612"/>
            <ac:grpSpMk id="34" creationId="{F7E418B0-CFE2-7A3F-3DC6-C1724656156F}"/>
          </ac:grpSpMkLst>
        </pc:grpChg>
        <pc:grpChg chg="add mod">
          <ac:chgData name="Lilith Pokorra" userId="29887f1b-b715-413d-8f68-9084865f2962" providerId="ADAL" clId="{C8549443-0699-4670-A019-EFEF75EBBD18}" dt="2024-10-28T21:36:57.152" v="402" actId="1076"/>
          <ac:grpSpMkLst>
            <pc:docMk/>
            <pc:sldMk cId="2940033197" sldId="3612"/>
            <ac:grpSpMk id="50" creationId="{B6DDA411-BEA1-6D05-5DAC-A547B0BCD194}"/>
          </ac:grpSpMkLst>
        </pc:grpChg>
        <pc:grpChg chg="add mod">
          <ac:chgData name="Lilith Pokorra" userId="29887f1b-b715-413d-8f68-9084865f2962" providerId="ADAL" clId="{C8549443-0699-4670-A019-EFEF75EBBD18}" dt="2024-10-28T21:36:57.152" v="402" actId="1076"/>
          <ac:grpSpMkLst>
            <pc:docMk/>
            <pc:sldMk cId="2940033197" sldId="3612"/>
            <ac:grpSpMk id="51" creationId="{A650521A-D10A-494B-4784-0AFD6FEBE97E}"/>
          </ac:grpSpMkLst>
        </pc:grpChg>
        <pc:grpChg chg="add mod">
          <ac:chgData name="Lilith Pokorra" userId="29887f1b-b715-413d-8f68-9084865f2962" providerId="ADAL" clId="{C8549443-0699-4670-A019-EFEF75EBBD18}" dt="2024-10-28T21:36:57.152" v="402" actId="1076"/>
          <ac:grpSpMkLst>
            <pc:docMk/>
            <pc:sldMk cId="2940033197" sldId="3612"/>
            <ac:grpSpMk id="52" creationId="{0566396C-8543-68D4-AA60-3CE0C304355D}"/>
          </ac:grpSpMkLst>
        </pc:grpChg>
        <pc:picChg chg="del">
          <ac:chgData name="Lilith Pokorra" userId="29887f1b-b715-413d-8f68-9084865f2962" providerId="ADAL" clId="{C8549443-0699-4670-A019-EFEF75EBBD18}" dt="2024-10-28T21:30:56.763" v="222" actId="478"/>
          <ac:picMkLst>
            <pc:docMk/>
            <pc:sldMk cId="2940033197" sldId="3612"/>
            <ac:picMk id="23" creationId="{12A451A3-0FC6-F52C-B58E-0FBDD6C978E6}"/>
          </ac:picMkLst>
        </pc:picChg>
        <pc:picChg chg="add del mod">
          <ac:chgData name="Lilith Pokorra" userId="29887f1b-b715-413d-8f68-9084865f2962" providerId="ADAL" clId="{C8549443-0699-4670-A019-EFEF75EBBD18}" dt="2024-10-28T21:32:31.809" v="251" actId="478"/>
          <ac:picMkLst>
            <pc:docMk/>
            <pc:sldMk cId="2940033197" sldId="3612"/>
            <ac:picMk id="25" creationId="{481D8071-94D0-1813-3348-3E94739FC02A}"/>
          </ac:picMkLst>
        </pc:picChg>
        <pc:picChg chg="add del mod">
          <ac:chgData name="Lilith Pokorra" userId="29887f1b-b715-413d-8f68-9084865f2962" providerId="ADAL" clId="{C8549443-0699-4670-A019-EFEF75EBBD18}" dt="2024-10-28T21:32:31.332" v="250" actId="478"/>
          <ac:picMkLst>
            <pc:docMk/>
            <pc:sldMk cId="2940033197" sldId="3612"/>
            <ac:picMk id="26" creationId="{7EBB38E8-645D-9897-8698-246B31CAB5D7}"/>
          </ac:picMkLst>
        </pc:picChg>
        <pc:picChg chg="add mod">
          <ac:chgData name="Lilith Pokorra" userId="29887f1b-b715-413d-8f68-9084865f2962" providerId="ADAL" clId="{C8549443-0699-4670-A019-EFEF75EBBD18}" dt="2024-10-28T21:36:32.565" v="396" actId="164"/>
          <ac:picMkLst>
            <pc:docMk/>
            <pc:sldMk cId="2940033197" sldId="3612"/>
            <ac:picMk id="44" creationId="{171CBFCA-118F-AF85-4FBC-4B729F5A5D2D}"/>
          </ac:picMkLst>
        </pc:picChg>
        <pc:picChg chg="add mod">
          <ac:chgData name="Lilith Pokorra" userId="29887f1b-b715-413d-8f68-9084865f2962" providerId="ADAL" clId="{C8549443-0699-4670-A019-EFEF75EBBD18}" dt="2024-10-28T21:36:34.076" v="397" actId="164"/>
          <ac:picMkLst>
            <pc:docMk/>
            <pc:sldMk cId="2940033197" sldId="3612"/>
            <ac:picMk id="45" creationId="{8C2736D0-422A-7EF2-41C8-05DD494A9915}"/>
          </ac:picMkLst>
        </pc:picChg>
        <pc:picChg chg="add mod">
          <ac:chgData name="Lilith Pokorra" userId="29887f1b-b715-413d-8f68-9084865f2962" providerId="ADAL" clId="{C8549443-0699-4670-A019-EFEF75EBBD18}" dt="2024-10-28T21:36:30.029" v="395" actId="164"/>
          <ac:picMkLst>
            <pc:docMk/>
            <pc:sldMk cId="2940033197" sldId="3612"/>
            <ac:picMk id="46" creationId="{CFBEEAFA-8C4D-B12C-3F87-E1C65AD19D93}"/>
          </ac:picMkLst>
        </pc:picChg>
        <pc:cxnChg chg="add mod">
          <ac:chgData name="Lilith Pokorra" userId="29887f1b-b715-413d-8f68-9084865f2962" providerId="ADAL" clId="{C8549443-0699-4670-A019-EFEF75EBBD18}" dt="2024-10-28T21:32:10.122" v="239" actId="164"/>
          <ac:cxnSpMkLst>
            <pc:docMk/>
            <pc:sldMk cId="2940033197" sldId="3612"/>
            <ac:cxnSpMk id="27" creationId="{48E48371-9293-83DE-BD0B-DC162050CE68}"/>
          </ac:cxnSpMkLst>
        </pc:cxnChg>
        <pc:cxnChg chg="add mod">
          <ac:chgData name="Lilith Pokorra" userId="29887f1b-b715-413d-8f68-9084865f2962" providerId="ADAL" clId="{C8549443-0699-4670-A019-EFEF75EBBD18}" dt="2024-10-28T21:32:10.122" v="239" actId="164"/>
          <ac:cxnSpMkLst>
            <pc:docMk/>
            <pc:sldMk cId="2940033197" sldId="3612"/>
            <ac:cxnSpMk id="28" creationId="{1C581142-ACF0-F054-8CF9-92F9B4FC9660}"/>
          </ac:cxnSpMkLst>
        </pc:cxnChg>
        <pc:cxnChg chg="add mod">
          <ac:chgData name="Lilith Pokorra" userId="29887f1b-b715-413d-8f68-9084865f2962" providerId="ADAL" clId="{C8549443-0699-4670-A019-EFEF75EBBD18}" dt="2024-10-28T21:32:10.122" v="239" actId="164"/>
          <ac:cxnSpMkLst>
            <pc:docMk/>
            <pc:sldMk cId="2940033197" sldId="3612"/>
            <ac:cxnSpMk id="31" creationId="{41924072-2470-3A80-1C27-57D5803360A7}"/>
          </ac:cxnSpMkLst>
        </pc:cxnChg>
        <pc:cxnChg chg="add mod">
          <ac:chgData name="Lilith Pokorra" userId="29887f1b-b715-413d-8f68-9084865f2962" providerId="ADAL" clId="{C8549443-0699-4670-A019-EFEF75EBBD18}" dt="2024-10-28T21:32:49.893" v="253"/>
          <ac:cxnSpMkLst>
            <pc:docMk/>
            <pc:sldMk cId="2940033197" sldId="3612"/>
            <ac:cxnSpMk id="37" creationId="{C2A70156-21EA-5CB3-7A99-45F5491CEED2}"/>
          </ac:cxnSpMkLst>
        </pc:cxnChg>
        <pc:cxnChg chg="add mod">
          <ac:chgData name="Lilith Pokorra" userId="29887f1b-b715-413d-8f68-9084865f2962" providerId="ADAL" clId="{C8549443-0699-4670-A019-EFEF75EBBD18}" dt="2024-10-28T21:32:49.893" v="253"/>
          <ac:cxnSpMkLst>
            <pc:docMk/>
            <pc:sldMk cId="2940033197" sldId="3612"/>
            <ac:cxnSpMk id="38" creationId="{98A0CA63-984F-8632-1096-E23C5B29E82E}"/>
          </ac:cxnSpMkLst>
        </pc:cxnChg>
        <pc:cxnChg chg="add mod">
          <ac:chgData name="Lilith Pokorra" userId="29887f1b-b715-413d-8f68-9084865f2962" providerId="ADAL" clId="{C8549443-0699-4670-A019-EFEF75EBBD18}" dt="2024-10-28T21:32:49.893" v="253"/>
          <ac:cxnSpMkLst>
            <pc:docMk/>
            <pc:sldMk cId="2940033197" sldId="3612"/>
            <ac:cxnSpMk id="41" creationId="{A23F30CA-DD46-90DE-F985-147C20352DF5}"/>
          </ac:cxnSpMkLst>
        </pc:cxnChg>
      </pc:sldChg>
      <pc:sldChg chg="addSp delSp modSp add mod ord modShow modNotesTx">
        <pc:chgData name="Lilith Pokorra" userId="29887f1b-b715-413d-8f68-9084865f2962" providerId="ADAL" clId="{C8549443-0699-4670-A019-EFEF75EBBD18}" dt="2024-10-29T15:29:36.859" v="3782" actId="20577"/>
        <pc:sldMkLst>
          <pc:docMk/>
          <pc:sldMk cId="519588985" sldId="3613"/>
        </pc:sldMkLst>
        <pc:spChg chg="add mod">
          <ac:chgData name="Lilith Pokorra" userId="29887f1b-b715-413d-8f68-9084865f2962" providerId="ADAL" clId="{C8549443-0699-4670-A019-EFEF75EBBD18}" dt="2024-10-28T21:52:48.948" v="761"/>
          <ac:spMkLst>
            <pc:docMk/>
            <pc:sldMk cId="519588985" sldId="3613"/>
            <ac:spMk id="3" creationId="{67BD3F8B-6547-B84A-5DFA-03FFD4F0309E}"/>
          </ac:spMkLst>
        </pc:spChg>
        <pc:spChg chg="add mod">
          <ac:chgData name="Lilith Pokorra" userId="29887f1b-b715-413d-8f68-9084865f2962" providerId="ADAL" clId="{C8549443-0699-4670-A019-EFEF75EBBD18}" dt="2024-10-28T22:09:53.217" v="1865" actId="20577"/>
          <ac:spMkLst>
            <pc:docMk/>
            <pc:sldMk cId="519588985" sldId="3613"/>
            <ac:spMk id="6" creationId="{E188192F-FDED-6EB9-02AE-4C30F46D92A8}"/>
          </ac:spMkLst>
        </pc:spChg>
        <pc:spChg chg="topLvl">
          <ac:chgData name="Lilith Pokorra" userId="29887f1b-b715-413d-8f68-9084865f2962" providerId="ADAL" clId="{C8549443-0699-4670-A019-EFEF75EBBD18}" dt="2024-10-28T21:52:46.642" v="760" actId="478"/>
          <ac:spMkLst>
            <pc:docMk/>
            <pc:sldMk cId="519588985" sldId="3613"/>
            <ac:spMk id="9" creationId="{39C7BB17-023E-4D52-503B-7CBA7835C430}"/>
          </ac:spMkLst>
        </pc:spChg>
        <pc:spChg chg="del topLvl">
          <ac:chgData name="Lilith Pokorra" userId="29887f1b-b715-413d-8f68-9084865f2962" providerId="ADAL" clId="{C8549443-0699-4670-A019-EFEF75EBBD18}" dt="2024-10-28T21:52:46.642" v="760" actId="478"/>
          <ac:spMkLst>
            <pc:docMk/>
            <pc:sldMk cId="519588985" sldId="3613"/>
            <ac:spMk id="10" creationId="{56FC6FB3-79AA-A527-8B14-4A8526B428B2}"/>
          </ac:spMkLst>
        </pc:spChg>
        <pc:spChg chg="del">
          <ac:chgData name="Lilith Pokorra" userId="29887f1b-b715-413d-8f68-9084865f2962" providerId="ADAL" clId="{C8549443-0699-4670-A019-EFEF75EBBD18}" dt="2024-10-28T21:52:28.234" v="759" actId="478"/>
          <ac:spMkLst>
            <pc:docMk/>
            <pc:sldMk cId="519588985" sldId="3613"/>
            <ac:spMk id="11" creationId="{E977B984-2910-A791-A082-B9A826F1F5BD}"/>
          </ac:spMkLst>
        </pc:spChg>
        <pc:spChg chg="add mod">
          <ac:chgData name="Lilith Pokorra" userId="29887f1b-b715-413d-8f68-9084865f2962" providerId="ADAL" clId="{C8549443-0699-4670-A019-EFEF75EBBD18}" dt="2024-10-28T21:56:16.068" v="780" actId="1076"/>
          <ac:spMkLst>
            <pc:docMk/>
            <pc:sldMk cId="519588985" sldId="3613"/>
            <ac:spMk id="13" creationId="{2EF6FD3D-9E4A-5690-1FE9-E1C83EF280C7}"/>
          </ac:spMkLst>
        </pc:spChg>
        <pc:grpChg chg="del">
          <ac:chgData name="Lilith Pokorra" userId="29887f1b-b715-413d-8f68-9084865f2962" providerId="ADAL" clId="{C8549443-0699-4670-A019-EFEF75EBBD18}" dt="2024-10-28T21:52:46.642" v="760" actId="478"/>
          <ac:grpSpMkLst>
            <pc:docMk/>
            <pc:sldMk cId="519588985" sldId="3613"/>
            <ac:grpSpMk id="8" creationId="{8AEC97BD-3F83-FF02-BEC6-C2E6B76A059F}"/>
          </ac:grpSpMkLst>
        </pc:grpChg>
        <pc:picChg chg="add mod">
          <ac:chgData name="Lilith Pokorra" userId="29887f1b-b715-413d-8f68-9084865f2962" providerId="ADAL" clId="{C8549443-0699-4670-A019-EFEF75EBBD18}" dt="2024-10-28T21:53:17.821" v="762"/>
          <ac:picMkLst>
            <pc:docMk/>
            <pc:sldMk cId="519588985" sldId="3613"/>
            <ac:picMk id="4" creationId="{273B5A31-E01C-5FA7-FE0F-B4242A445782}"/>
          </ac:picMkLst>
        </pc:picChg>
        <pc:picChg chg="del">
          <ac:chgData name="Lilith Pokorra" userId="29887f1b-b715-413d-8f68-9084865f2962" providerId="ADAL" clId="{C8549443-0699-4670-A019-EFEF75EBBD18}" dt="2024-10-28T21:52:28.234" v="759" actId="478"/>
          <ac:picMkLst>
            <pc:docMk/>
            <pc:sldMk cId="519588985" sldId="3613"/>
            <ac:picMk id="5" creationId="{FC5F06D6-A95A-9E11-405B-D8DFFD81E99D}"/>
          </ac:picMkLst>
        </pc:picChg>
        <pc:picChg chg="del">
          <ac:chgData name="Lilith Pokorra" userId="29887f1b-b715-413d-8f68-9084865f2962" providerId="ADAL" clId="{C8549443-0699-4670-A019-EFEF75EBBD18}" dt="2024-10-28T21:52:28.234" v="759" actId="478"/>
          <ac:picMkLst>
            <pc:docMk/>
            <pc:sldMk cId="519588985" sldId="3613"/>
            <ac:picMk id="7" creationId="{56CD91FD-858B-D3F9-591E-86095B3E822A}"/>
          </ac:picMkLst>
        </pc:picChg>
      </pc:sldChg>
      <pc:sldChg chg="addSp modSp add mod modNotesTx">
        <pc:chgData name="Lilith Pokorra" userId="29887f1b-b715-413d-8f68-9084865f2962" providerId="ADAL" clId="{C8549443-0699-4670-A019-EFEF75EBBD18}" dt="2024-10-29T14:37:03.282" v="3643" actId="20577"/>
        <pc:sldMkLst>
          <pc:docMk/>
          <pc:sldMk cId="626806734" sldId="3614"/>
        </pc:sldMkLst>
        <pc:spChg chg="mod">
          <ac:chgData name="Lilith Pokorra" userId="29887f1b-b715-413d-8f68-9084865f2962" providerId="ADAL" clId="{C8549443-0699-4670-A019-EFEF75EBBD18}" dt="2024-10-28T22:20:22.830" v="1978" actId="404"/>
          <ac:spMkLst>
            <pc:docMk/>
            <pc:sldMk cId="626806734" sldId="3614"/>
            <ac:spMk id="4" creationId="{3A6B342E-CD99-64B9-827C-25B1D3AD8F5F}"/>
          </ac:spMkLst>
        </pc:spChg>
        <pc:spChg chg="add mod">
          <ac:chgData name="Lilith Pokorra" userId="29887f1b-b715-413d-8f68-9084865f2962" providerId="ADAL" clId="{C8549443-0699-4670-A019-EFEF75EBBD18}" dt="2024-10-28T22:21:15.724" v="2056" actId="20577"/>
          <ac:spMkLst>
            <pc:docMk/>
            <pc:sldMk cId="626806734" sldId="3614"/>
            <ac:spMk id="5" creationId="{998655C7-BB06-8068-8044-5143701235EC}"/>
          </ac:spMkLst>
        </pc:spChg>
      </pc:sldChg>
      <pc:sldChg chg="addSp delSp modSp add mod modNotesTx">
        <pc:chgData name="Lilith Pokorra" userId="29887f1b-b715-413d-8f68-9084865f2962" providerId="ADAL" clId="{C8549443-0699-4670-A019-EFEF75EBBD18}" dt="2024-10-29T15:04:21.948" v="3744" actId="20577"/>
        <pc:sldMkLst>
          <pc:docMk/>
          <pc:sldMk cId="2992651843" sldId="3615"/>
        </pc:sldMkLst>
        <pc:spChg chg="mod">
          <ac:chgData name="Lilith Pokorra" userId="29887f1b-b715-413d-8f68-9084865f2962" providerId="ADAL" clId="{C8549443-0699-4670-A019-EFEF75EBBD18}" dt="2024-10-28T22:23:10.678" v="2198" actId="20577"/>
          <ac:spMkLst>
            <pc:docMk/>
            <pc:sldMk cId="2992651843" sldId="3615"/>
            <ac:spMk id="4" creationId="{BDBA46DA-2D86-379F-1EC3-3AEF9E24C40F}"/>
          </ac:spMkLst>
        </pc:spChg>
        <pc:spChg chg="del">
          <ac:chgData name="Lilith Pokorra" userId="29887f1b-b715-413d-8f68-9084865f2962" providerId="ADAL" clId="{C8549443-0699-4670-A019-EFEF75EBBD18}" dt="2024-10-28T22:22:40" v="2142" actId="478"/>
          <ac:spMkLst>
            <pc:docMk/>
            <pc:sldMk cId="2992651843" sldId="3615"/>
            <ac:spMk id="5" creationId="{89FE776E-10E9-62E2-A24C-FEB2C4E13106}"/>
          </ac:spMkLst>
        </pc:spChg>
        <pc:spChg chg="add mod">
          <ac:chgData name="Lilith Pokorra" userId="29887f1b-b715-413d-8f68-9084865f2962" providerId="ADAL" clId="{C8549443-0699-4670-A019-EFEF75EBBD18}" dt="2024-10-28T22:23:17.486" v="2199" actId="14100"/>
          <ac:spMkLst>
            <pc:docMk/>
            <pc:sldMk cId="2992651843" sldId="3615"/>
            <ac:spMk id="6" creationId="{B420756A-2F0F-E685-919F-2C7EFA9FB927}"/>
          </ac:spMkLst>
        </pc:spChg>
        <pc:picChg chg="mod">
          <ac:chgData name="Lilith Pokorra" userId="29887f1b-b715-413d-8f68-9084865f2962" providerId="ADAL" clId="{C8549443-0699-4670-A019-EFEF75EBBD18}" dt="2024-10-28T22:22:24.263" v="2139" actId="1076"/>
          <ac:picMkLst>
            <pc:docMk/>
            <pc:sldMk cId="2992651843" sldId="3615"/>
            <ac:picMk id="17" creationId="{E60F8274-FAAF-BAE9-0D72-C0BD5A1B0B10}"/>
          </ac:picMkLst>
        </pc:picChg>
      </pc:sldChg>
      <pc:sldMasterChg chg="delSldLayout">
        <pc:chgData name="Lilith Pokorra" userId="29887f1b-b715-413d-8f68-9084865f2962" providerId="ADAL" clId="{C8549443-0699-4670-A019-EFEF75EBBD18}" dt="2024-10-28T21:56:48.885" v="784" actId="2696"/>
        <pc:sldMasterMkLst>
          <pc:docMk/>
          <pc:sldMasterMk cId="1473634338" sldId="2147483774"/>
        </pc:sldMasterMkLst>
        <pc:sldLayoutChg chg="del">
          <pc:chgData name="Lilith Pokorra" userId="29887f1b-b715-413d-8f68-9084865f2962" providerId="ADAL" clId="{C8549443-0699-4670-A019-EFEF75EBBD18}" dt="2024-10-28T21:56:48.885" v="784" actId="2696"/>
          <pc:sldLayoutMkLst>
            <pc:docMk/>
            <pc:sldMasterMk cId="1473634338" sldId="2147483774"/>
            <pc:sldLayoutMk cId="4012408815" sldId="214748378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08.11.24</a:t>
            </a:fld>
            <a:endParaRPr lang="de-DE">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none"/>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1A7539-508C-BA1F-7B4F-F3B458957B7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0FDFA05-396B-0417-EA15-4185D2F5FB3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2E6BB821-5A07-CC47-D3E6-A5976C752C6F}"/>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Wimmelbilder können in jedem Schuljahr eingesetzt werden. Neben der Addition und Subtraktion können auch Multiplikation und Division mithilfe von Wimmelbildern thematisiert werden. Auch hier lassen sich Beziehungen zwischen den Operationen entdecken. Bilder können beispielsweise entweder multiplikativ oder als Division gedeutet werden.</a:t>
            </a:r>
          </a:p>
        </p:txBody>
      </p:sp>
      <p:sp>
        <p:nvSpPr>
          <p:cNvPr id="4" name="Foliennummernplatzhalter 3">
            <a:extLst>
              <a:ext uri="{FF2B5EF4-FFF2-40B4-BE49-F238E27FC236}">
                <a16:creationId xmlns:a16="http://schemas.microsoft.com/office/drawing/2014/main" id="{828DDE5F-16DA-CBCD-C035-36507825B414}"/>
              </a:ext>
            </a:extLst>
          </p:cNvPr>
          <p:cNvSpPr>
            <a:spLocks noGrp="1"/>
          </p:cNvSpPr>
          <p:nvPr>
            <p:ph type="sldNum" sz="quarter" idx="5"/>
          </p:nvPr>
        </p:nvSpPr>
        <p:spPr/>
        <p:txBody>
          <a:bodyPr/>
          <a:lstStyle/>
          <a:p>
            <a:fld id="{FAF12454-57A3-5346-8AD1-8A7E704F94A5}" type="slidenum">
              <a:rPr lang="de-DE" smtClean="0"/>
              <a:pPr/>
              <a:t>12</a:t>
            </a:fld>
            <a:endParaRPr lang="de-DE"/>
          </a:p>
        </p:txBody>
      </p:sp>
    </p:spTree>
    <p:extLst>
      <p:ext uri="{BB962C8B-B14F-4D97-AF65-F5344CB8AC3E}">
        <p14:creationId xmlns:p14="http://schemas.microsoft.com/office/powerpoint/2010/main" val="4000332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F76CD-FCA7-DBB6-C433-E602F764049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ACFA50-483A-0B63-6220-B13C11629133}"/>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219BD35-6417-6876-28BF-6C5E9BAA9070}"/>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Viele Bilder lassen auch eine additive oder multiplikative Deutung zu.</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a:extLst>
              <a:ext uri="{FF2B5EF4-FFF2-40B4-BE49-F238E27FC236}">
                <a16:creationId xmlns:a16="http://schemas.microsoft.com/office/drawing/2014/main" id="{23E9244E-8A87-AF15-8143-304A34CB60B5}"/>
              </a:ext>
            </a:extLst>
          </p:cNvPr>
          <p:cNvSpPr>
            <a:spLocks noGrp="1"/>
          </p:cNvSpPr>
          <p:nvPr>
            <p:ph type="sldNum" sz="quarter" idx="5"/>
          </p:nvPr>
        </p:nvSpPr>
        <p:spPr/>
        <p:txBody>
          <a:bodyPr/>
          <a:lstStyle/>
          <a:p>
            <a:fld id="{FAF12454-57A3-5346-8AD1-8A7E704F94A5}" type="slidenum">
              <a:rPr lang="de-DE" smtClean="0"/>
              <a:pPr/>
              <a:t>13</a:t>
            </a:fld>
            <a:endParaRPr lang="de-DE"/>
          </a:p>
        </p:txBody>
      </p:sp>
    </p:spTree>
    <p:extLst>
      <p:ext uri="{BB962C8B-B14F-4D97-AF65-F5344CB8AC3E}">
        <p14:creationId xmlns:p14="http://schemas.microsoft.com/office/powerpoint/2010/main" val="1047052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de-DE" dirty="0"/>
              <a:t>Zu einem tragfähigen Operationsverständnis gehören die Grundvorstellungen und auch die Fähigkeit, verschiedene Darstellungsebenen miteinander zu vernetzen. </a:t>
            </a:r>
          </a:p>
          <a:p>
            <a:pPr>
              <a:defRPr/>
            </a:pPr>
            <a:r>
              <a:rPr lang="de-DE" dirty="0"/>
              <a:t>Dabei ist zu beachten, dass die Übersetzung zwischen zwei Ebenen einerseits eine wichtige Unterstützung des Operationsverständnisses darstellt, </a:t>
            </a:r>
            <a:r>
              <a:rPr lang="de-DE" b="1" u="sng" dirty="0"/>
              <a:t>für die Kinder jedoch nicht selbstverständlich ist und aktiv erarbeitet werden muss. </a:t>
            </a:r>
          </a:p>
          <a:p>
            <a:pPr>
              <a:defRPr/>
            </a:pPr>
            <a:r>
              <a:rPr lang="de-DE" dirty="0"/>
              <a:t>So anschaulich bspw. das Bild mit den Äpfeln auf einen Erwachsenen wirken mag, der schon vor langer Zeit gelernt hat, die mathematische Struktur in Situationen hineinzusehen, so neu kann sie jedoch für das Kind sein. </a:t>
            </a:r>
          </a:p>
          <a:p>
            <a:pPr>
              <a:defRPr/>
            </a:pPr>
            <a:r>
              <a:rPr lang="de-DE" dirty="0"/>
              <a:t>Für die Vernetzung der Darstellungsebenen ist insofern viel Zeit und eine permanente und sensible sprachliche Begleitung des Handelns einzuplanen („Wo sehe ich denn die 15 in dem Bild? Wieso ist das Ergebnis 12? Wo sehe ich die 3?“)</a:t>
            </a:r>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a:p>
        </p:txBody>
      </p:sp>
    </p:spTree>
    <p:extLst>
      <p:ext uri="{BB962C8B-B14F-4D97-AF65-F5344CB8AC3E}">
        <p14:creationId xmlns:p14="http://schemas.microsoft.com/office/powerpoint/2010/main" val="1233344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6860DA-27E6-137F-B4BA-541EA87FA60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0D91872-97E3-6D6D-6067-78652A2A9AEF}"/>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10A12A8-1B3B-4DC3-E66D-8A6328A83743}"/>
              </a:ext>
            </a:extLst>
          </p:cNvPr>
          <p:cNvSpPr>
            <a:spLocks noGrp="1"/>
          </p:cNvSpPr>
          <p:nvPr>
            <p:ph type="body" idx="1"/>
          </p:nvPr>
        </p:nvSpPr>
        <p:spPr/>
        <p:txBody>
          <a:bodyPr/>
          <a:lstStyle/>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de-DE" dirty="0"/>
          </a:p>
        </p:txBody>
      </p:sp>
      <p:sp>
        <p:nvSpPr>
          <p:cNvPr id="4" name="Foliennummernplatzhalter 3">
            <a:extLst>
              <a:ext uri="{FF2B5EF4-FFF2-40B4-BE49-F238E27FC236}">
                <a16:creationId xmlns:a16="http://schemas.microsoft.com/office/drawing/2014/main" id="{E1121559-0F6B-275D-C79F-88663DE0712B}"/>
              </a:ext>
            </a:extLst>
          </p:cNvPr>
          <p:cNvSpPr>
            <a:spLocks noGrp="1"/>
          </p:cNvSpPr>
          <p:nvPr>
            <p:ph type="sldNum" sz="quarter" idx="5"/>
          </p:nvPr>
        </p:nvSpPr>
        <p:spPr/>
        <p:txBody>
          <a:bodyPr/>
          <a:lstStyle/>
          <a:p>
            <a:fld id="{FAF12454-57A3-5346-8AD1-8A7E704F94A5}" type="slidenum">
              <a:rPr lang="de-DE" smtClean="0"/>
              <a:pPr/>
              <a:t>6</a:t>
            </a:fld>
            <a:endParaRPr lang="de-DE"/>
          </a:p>
        </p:txBody>
      </p:sp>
    </p:spTree>
    <p:extLst>
      <p:ext uri="{BB962C8B-B14F-4D97-AF65-F5344CB8AC3E}">
        <p14:creationId xmlns:p14="http://schemas.microsoft.com/office/powerpoint/2010/main" val="794007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F2B8B-4997-6BD5-A121-32E758D7286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EA3C2F8-29D7-59A8-ED58-A1B5735BBD6B}"/>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81EEF47-C104-F5DE-2686-C4962CD3E964}"/>
              </a:ext>
            </a:extLst>
          </p:cNvPr>
          <p:cNvSpPr>
            <a:spLocks noGrp="1"/>
          </p:cNvSpPr>
          <p:nvPr>
            <p:ph type="body" idx="1"/>
          </p:nvPr>
        </p:nvSpPr>
        <p:spPr/>
        <p:txBody>
          <a:bodyPr/>
          <a:lstStyle/>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de-DE" dirty="0"/>
          </a:p>
        </p:txBody>
      </p:sp>
      <p:sp>
        <p:nvSpPr>
          <p:cNvPr id="4" name="Foliennummernplatzhalter 3">
            <a:extLst>
              <a:ext uri="{FF2B5EF4-FFF2-40B4-BE49-F238E27FC236}">
                <a16:creationId xmlns:a16="http://schemas.microsoft.com/office/drawing/2014/main" id="{1875473F-5BD9-F6D8-FCEF-5F78FAE53002}"/>
              </a:ext>
            </a:extLst>
          </p:cNvPr>
          <p:cNvSpPr>
            <a:spLocks noGrp="1"/>
          </p:cNvSpPr>
          <p:nvPr>
            <p:ph type="sldNum" sz="quarter" idx="5"/>
          </p:nvPr>
        </p:nvSpPr>
        <p:spPr/>
        <p:txBody>
          <a:bodyPr/>
          <a:lstStyle/>
          <a:p>
            <a:fld id="{FAF12454-57A3-5346-8AD1-8A7E704F94A5}" type="slidenum">
              <a:rPr lang="de-DE" smtClean="0"/>
              <a:pPr/>
              <a:t>7</a:t>
            </a:fld>
            <a:endParaRPr lang="de-DE"/>
          </a:p>
        </p:txBody>
      </p:sp>
    </p:spTree>
    <p:extLst>
      <p:ext uri="{BB962C8B-B14F-4D97-AF65-F5344CB8AC3E}">
        <p14:creationId xmlns:p14="http://schemas.microsoft.com/office/powerpoint/2010/main" val="14851216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99C9D1-4EDA-7DA7-DC67-FFE89F850FD9}"/>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F706257-5947-C4F4-D704-6FD4CD829C6E}"/>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B3258A2-0763-4A82-73B5-20D5C1640AF8}"/>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de-DE" sz="1800" dirty="0">
                <a:solidFill>
                  <a:srgbClr val="000000"/>
                </a:solidFill>
                <a:effectLst/>
                <a:latin typeface="Calibri" panose="020F0502020204030204" pitchFamily="34" charset="0"/>
                <a:ea typeface="Calibri" panose="020F0502020204030204" pitchFamily="34" charset="0"/>
              </a:rPr>
              <a:t>Weiterhin sollten Beziehungen zwischen den Operationen thematisiert werden. Addition und Subtraktion sind Umkehroperationen und hängen daher eng zusammen. Gute Aufgaben können dazu anregen, Vorstellungen zu den Operationen nicht nur getrennt voneinander aufzubauen, sondern die Addition und Subtraktion gemeinsam zu denken.</a:t>
            </a:r>
            <a:endParaRPr lang="de-DE" dirty="0"/>
          </a:p>
        </p:txBody>
      </p:sp>
      <p:sp>
        <p:nvSpPr>
          <p:cNvPr id="4" name="Foliennummernplatzhalter 3">
            <a:extLst>
              <a:ext uri="{FF2B5EF4-FFF2-40B4-BE49-F238E27FC236}">
                <a16:creationId xmlns:a16="http://schemas.microsoft.com/office/drawing/2014/main" id="{D98D9C1D-312D-1A14-D5EC-4300778C6EB9}"/>
              </a:ext>
            </a:extLst>
          </p:cNvPr>
          <p:cNvSpPr>
            <a:spLocks noGrp="1"/>
          </p:cNvSpPr>
          <p:nvPr>
            <p:ph type="sldNum" sz="quarter" idx="5"/>
          </p:nvPr>
        </p:nvSpPr>
        <p:spPr/>
        <p:txBody>
          <a:bodyPr/>
          <a:lstStyle/>
          <a:p>
            <a:fld id="{FAF12454-57A3-5346-8AD1-8A7E704F94A5}" type="slidenum">
              <a:rPr lang="de-DE" smtClean="0"/>
              <a:pPr/>
              <a:t>8</a:t>
            </a:fld>
            <a:endParaRPr lang="de-DE"/>
          </a:p>
        </p:txBody>
      </p:sp>
    </p:spTree>
    <p:extLst>
      <p:ext uri="{BB962C8B-B14F-4D97-AF65-F5344CB8AC3E}">
        <p14:creationId xmlns:p14="http://schemas.microsoft.com/office/powerpoint/2010/main" val="4112170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a:p>
        </p:txBody>
      </p:sp>
    </p:spTree>
    <p:extLst>
      <p:ext uri="{BB962C8B-B14F-4D97-AF65-F5344CB8AC3E}">
        <p14:creationId xmlns:p14="http://schemas.microsoft.com/office/powerpoint/2010/main" val="666151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098A40-6076-F0DF-57BE-7FF6897C6E50}"/>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5517499B-77EF-2E37-BF92-A23749C7A5D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3D3748D-A8EC-72AD-787D-D77EF7A1CFC7}"/>
              </a:ext>
            </a:extLst>
          </p:cNvPr>
          <p:cNvSpPr>
            <a:spLocks noGrp="1"/>
          </p:cNvSpPr>
          <p:nvPr>
            <p:ph type="body" idx="1"/>
          </p:nvPr>
        </p:nvSpPr>
        <p:spPr/>
        <p:txBody>
          <a:bodyPr/>
          <a:lstStyle/>
          <a:p>
            <a:pPr algn="just"/>
            <a:r>
              <a:rPr lang="de-DE" sz="1800" dirty="0">
                <a:effectLst/>
                <a:latin typeface="Calibri" panose="020F0502020204030204" pitchFamily="34" charset="0"/>
                <a:ea typeface="Calibri" panose="020F0502020204030204" pitchFamily="34" charset="0"/>
                <a:cs typeface="Times New Roman" panose="02020603050405020304" pitchFamily="18" charset="0"/>
              </a:rPr>
              <a:t>Wimmelbilder sind in jedem Schulbuch zu finden. Mithilfe von Wimmelbildern können unterschiedliche Grundvorstellungen angesprochen, die Darstellungsvernetzung angeregt und Beziehungen zwischen Aufgaben veranschaulicht werden. So kann materialgebunden das Operationsverständnis aufgebaut </a:t>
            </a:r>
            <a:r>
              <a:rPr lang="de-DE" sz="1800">
                <a:effectLst/>
                <a:latin typeface="Calibri" panose="020F0502020204030204" pitchFamily="34" charset="0"/>
                <a:ea typeface="Calibri" panose="020F0502020204030204" pitchFamily="34" charset="0"/>
                <a:cs typeface="Times New Roman" panose="02020603050405020304" pitchFamily="18" charset="0"/>
              </a:rPr>
              <a:t>werden. Dafür </a:t>
            </a:r>
            <a:r>
              <a:rPr lang="de-DE" sz="1800" dirty="0">
                <a:effectLst/>
                <a:latin typeface="Calibri" panose="020F0502020204030204" pitchFamily="34" charset="0"/>
                <a:ea typeface="Calibri" panose="020F0502020204030204" pitchFamily="34" charset="0"/>
                <a:cs typeface="Times New Roman" panose="02020603050405020304" pitchFamily="18" charset="0"/>
              </a:rPr>
              <a:t>müssen sie jedoch produktiv genutzt werden. Anstatt Wimmelbilder nur einmalig zum Vorstellungsaufbau einzusetzen, sollten sie immer wieder aufgegriffen und vertieft werden.</a:t>
            </a:r>
          </a:p>
          <a:p>
            <a:pPr algn="just"/>
            <a:r>
              <a:rPr lang="de-DE" sz="1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de-DE" sz="1800" dirty="0">
                <a:effectLst/>
                <a:latin typeface="Calibri" panose="020F0502020204030204" pitchFamily="34" charset="0"/>
                <a:ea typeface="Calibri" panose="020F0502020204030204" pitchFamily="34" charset="0"/>
                <a:cs typeface="Calibri" panose="020F0502020204030204" pitchFamily="34"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r>
              <a:rPr lang="de-DE" sz="1800" kern="100" dirty="0">
                <a:effectLst/>
                <a:latin typeface="Calibri" panose="020F0502020204030204" pitchFamily="34" charset="0"/>
                <a:ea typeface="Calibri" panose="020F0502020204030204" pitchFamily="34" charset="0"/>
              </a:rPr>
              <a:t>Im Wimmelbild entdecken Kinder verschiedene Plus- und Minusaufgaben. Einige Situationen können sowohl als Plus- als auch als Minussituation gedeutet werden. </a:t>
            </a:r>
          </a:p>
          <a:p>
            <a:pPr algn="just"/>
            <a:endParaRPr lang="de-DE" dirty="0">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sym typeface="Wingdings" panose="05000000000000000000" pitchFamily="2" charset="2"/>
              </a:rPr>
              <a:t>Beispiel Saftgläser</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sym typeface="Wingdings" panose="05000000000000000000" pitchFamily="2" charset="2"/>
              </a:rPr>
              <a:t>3+2  3 sind schon eingeschüttet, zwei noch nicht</a:t>
            </a:r>
          </a:p>
          <a:p>
            <a:pPr marL="628650" marR="0" lvl="1"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lang="de-DE" dirty="0">
                <a:sym typeface="Wingdings" panose="05000000000000000000" pitchFamily="2" charset="2"/>
              </a:rPr>
              <a:t>5-2  von fünf Gläsern Saft wurden zwei schon getrunken</a:t>
            </a:r>
          </a:p>
          <a:p>
            <a:pPr marL="171450" marR="0" lvl="0" indent="-1714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endParaRPr lang="de-DE" dirty="0">
              <a:sym typeface="Wingdings" panose="05000000000000000000" pitchFamily="2" charset="2"/>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a:extLst>
              <a:ext uri="{FF2B5EF4-FFF2-40B4-BE49-F238E27FC236}">
                <a16:creationId xmlns:a16="http://schemas.microsoft.com/office/drawing/2014/main" id="{AD28E2B6-2859-35B3-FE2C-E246CA61A713}"/>
              </a:ext>
            </a:extLst>
          </p:cNvPr>
          <p:cNvSpPr>
            <a:spLocks noGrp="1"/>
          </p:cNvSpPr>
          <p:nvPr>
            <p:ph type="sldNum" sz="quarter" idx="5"/>
          </p:nvPr>
        </p:nvSpPr>
        <p:spPr/>
        <p:txBody>
          <a:bodyPr/>
          <a:lstStyle/>
          <a:p>
            <a:fld id="{FAF12454-57A3-5346-8AD1-8A7E704F94A5}" type="slidenum">
              <a:rPr lang="de-DE" smtClean="0"/>
              <a:pPr/>
              <a:t>10</a:t>
            </a:fld>
            <a:endParaRPr lang="de-DE" dirty="0"/>
          </a:p>
        </p:txBody>
      </p:sp>
    </p:spTree>
    <p:extLst>
      <p:ext uri="{BB962C8B-B14F-4D97-AF65-F5344CB8AC3E}">
        <p14:creationId xmlns:p14="http://schemas.microsoft.com/office/powerpoint/2010/main" val="37617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1</a:t>
            </a:fld>
            <a:endParaRPr lang="de-DE"/>
          </a:p>
        </p:txBody>
      </p:sp>
    </p:spTree>
    <p:extLst>
      <p:ext uri="{BB962C8B-B14F-4D97-AF65-F5344CB8AC3E}">
        <p14:creationId xmlns:p14="http://schemas.microsoft.com/office/powerpoint/2010/main" val="1552850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Überschrift + 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899999"/>
            <a:ext cx="8640000" cy="5580000"/>
          </a:xfrm>
          <a:prstGeom prst="rect">
            <a:avLst/>
          </a:prstGeom>
        </p:spPr>
        <p:txBody>
          <a:bodyPr vert="horz" wrap="square" lIns="0" tIns="0" rIns="0" bIns="0" rtlCol="0">
            <a:noAutofit/>
          </a:bodyPr>
          <a:lstStyle>
            <a:lvl1pPr marL="215899" indent="-215899">
              <a:spcAft>
                <a:spcPts val="600"/>
              </a:spcAft>
              <a:buClr>
                <a:schemeClr val="tx2"/>
              </a:buClr>
              <a:buSzPct val="85000"/>
              <a:buFont typeface="Wingdings"/>
              <a:buChar char="§"/>
              <a:defRPr sz="1800"/>
            </a:lvl1pPr>
            <a:lvl2pPr marL="432000" indent="-216000">
              <a:spcAft>
                <a:spcPts val="600"/>
              </a:spcAft>
              <a:buClr>
                <a:schemeClr val="tx2"/>
              </a:buClr>
              <a:buSzPct val="85000"/>
              <a:buFont typeface="Wingdings"/>
              <a:buChar char="§"/>
              <a:defRPr sz="1600"/>
            </a:lvl2pPr>
            <a:lvl3pPr marL="432000" indent="-216000">
              <a:spcAft>
                <a:spcPts val="600"/>
              </a:spcAft>
              <a:buClr>
                <a:schemeClr val="tx2"/>
              </a:buClr>
              <a:buSzPct val="85000"/>
              <a:buFont typeface="Wingdings"/>
              <a:buChar char="§"/>
              <a:defRPr sz="1600"/>
            </a:lvl3pPr>
            <a:lvl4pPr marL="432000" indent="-216000">
              <a:spcAft>
                <a:spcPts val="600"/>
              </a:spcAft>
              <a:buClr>
                <a:schemeClr val="tx2"/>
              </a:buClr>
              <a:buSzPct val="85000"/>
              <a:buFont typeface="Wingdings"/>
              <a:buChar char="§"/>
              <a:defRPr sz="1600"/>
            </a:lvl4pPr>
            <a:lvl5pPr marL="432000" indent="-216000">
              <a:buClr>
                <a:schemeClr val="tx2"/>
              </a:buClr>
              <a:buSzPct val="85000"/>
              <a:buFont typeface="Wingdings"/>
              <a:buChar char="§"/>
              <a:defRPr sz="1600"/>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p>
        </p:txBody>
      </p:sp>
      <p:sp>
        <p:nvSpPr>
          <p:cNvPr id="9"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37448845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323999"/>
            <a:ext cx="8640000" cy="6156000"/>
          </a:xfrm>
          <a:prstGeom prst="rect">
            <a:avLst/>
          </a:prstGeom>
        </p:spPr>
        <p:txBody>
          <a:bodyPr vert="horz" wrap="square" lIns="0" tIns="0" rIns="0" bIns="0" rtlCol="0">
            <a:noAutofit/>
          </a:bodyPr>
          <a:lstStyle>
            <a:lvl1pPr marL="215899" indent="-215899">
              <a:spcAft>
                <a:spcPts val="600"/>
              </a:spcAft>
              <a:buClr>
                <a:schemeClr val="tx2"/>
              </a:buClr>
              <a:buSzPct val="85000"/>
              <a:buFont typeface="Wingdings"/>
              <a:buChar char="§"/>
              <a:defRPr sz="1800"/>
            </a:lvl1pPr>
            <a:lvl2pPr marL="432000" indent="-216000">
              <a:spcAft>
                <a:spcPts val="600"/>
              </a:spcAft>
              <a:buClr>
                <a:schemeClr val="tx2"/>
              </a:buClr>
              <a:buSzPct val="85000"/>
              <a:buFont typeface="Wingdings"/>
              <a:buChar char="§"/>
              <a:defRPr sz="1600"/>
            </a:lvl2pPr>
            <a:lvl3pPr marL="432000" indent="-216000">
              <a:spcAft>
                <a:spcPts val="600"/>
              </a:spcAft>
              <a:buClr>
                <a:schemeClr val="tx2"/>
              </a:buClr>
              <a:buSzPct val="85000"/>
              <a:buFont typeface="Wingdings"/>
              <a:buChar char="§"/>
              <a:defRPr sz="1600"/>
            </a:lvl3pPr>
            <a:lvl4pPr marL="432000" indent="-216000">
              <a:spcAft>
                <a:spcPts val="600"/>
              </a:spcAft>
              <a:buClr>
                <a:schemeClr val="tx2"/>
              </a:buClr>
              <a:buSzPct val="85000"/>
              <a:buFont typeface="Wingdings"/>
              <a:buChar char="§"/>
              <a:defRPr sz="1600"/>
            </a:lvl4pPr>
            <a:lvl5pPr marL="432000" indent="-216000">
              <a:buClr>
                <a:schemeClr val="tx2"/>
              </a:buClr>
              <a:buSzPct val="85000"/>
              <a:buFont typeface="Wingdings"/>
              <a:buChar char="§"/>
              <a:defRPr sz="1600"/>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9"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2246584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Freie Gestaltung">
    <p:spTree>
      <p:nvGrpSpPr>
        <p:cNvPr id="1" name=""/>
        <p:cNvGrpSpPr/>
        <p:nvPr/>
      </p:nvGrpSpPr>
      <p:grpSpPr bwMode="auto">
        <a:xfrm>
          <a:off x="0" y="0"/>
          <a:ext cx="0" cy="0"/>
          <a:chOff x="0" y="0"/>
          <a:chExt cx="0" cy="0"/>
        </a:xfrm>
      </p:grpSpPr>
      <p:sp>
        <p:nvSpPr>
          <p:cNvPr id="5" name="Textplatzhalter 8"/>
          <p:cNvSpPr>
            <a:spLocks noGrp="1"/>
          </p:cNvSpPr>
          <p:nvPr>
            <p:ph type="body" sz="quarter" idx="10" hasCustomPrompt="1"/>
          </p:nvPr>
        </p:nvSpPr>
        <p:spPr bwMode="auto">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defRPr/>
            </a:pPr>
            <a:r>
              <a:rPr lang="de-DE"/>
              <a:t>(&lt;Quelle&gt;, &lt;Jahr&gt;), (Bildquelle: &lt;Quelle&gt;, &lt;Jahr&gt;)</a:t>
            </a:r>
            <a:endParaRPr/>
          </a:p>
        </p:txBody>
      </p:sp>
    </p:spTree>
    <p:extLst>
      <p:ext uri="{BB962C8B-B14F-4D97-AF65-F5344CB8AC3E}">
        <p14:creationId xmlns:p14="http://schemas.microsoft.com/office/powerpoint/2010/main" val="41687803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Gliederung">
    <p:spTree>
      <p:nvGrpSpPr>
        <p:cNvPr id="1" name=""/>
        <p:cNvGrpSpPr/>
        <p:nvPr/>
      </p:nvGrpSpPr>
      <p:grpSpPr bwMode="auto">
        <a:xfrm>
          <a:off x="0" y="0"/>
          <a:ext cx="0" cy="0"/>
          <a:chOff x="0" y="0"/>
          <a:chExt cx="0" cy="0"/>
        </a:xfrm>
      </p:grpSpPr>
      <p:sp>
        <p:nvSpPr>
          <p:cNvPr id="7" name="Textplatzhalter 6"/>
          <p:cNvSpPr>
            <a:spLocks noGrp="1"/>
          </p:cNvSpPr>
          <p:nvPr>
            <p:ph type="body" sz="quarter" idx="10" hasCustomPrompt="1"/>
          </p:nvPr>
        </p:nvSpPr>
        <p:spPr bwMode="auto">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defRPr/>
            </a:pPr>
            <a:r>
              <a:rPr lang="de-DE"/>
              <a:t>Kapitel 1</a:t>
            </a:r>
            <a:endParaRPr/>
          </a:p>
          <a:p>
            <a:pPr lvl="0">
              <a:defRPr/>
            </a:pPr>
            <a:r>
              <a:rPr lang="de-DE"/>
              <a:t>Kapitel 2</a:t>
            </a:r>
            <a:endParaRPr/>
          </a:p>
          <a:p>
            <a:pPr lvl="0">
              <a:defRPr/>
            </a:pPr>
            <a:r>
              <a:rPr lang="de-DE"/>
              <a:t>Kapitel 3</a:t>
            </a:r>
            <a:endParaRPr/>
          </a:p>
        </p:txBody>
      </p:sp>
      <p:sp>
        <p:nvSpPr>
          <p:cNvPr id="12" name="Textfeld 11"/>
          <p:cNvSpPr txBox="1"/>
          <p:nvPr userDrawn="1"/>
        </p:nvSpPr>
        <p:spPr bwMode="auto">
          <a:xfrm>
            <a:off x="252000" y="324000"/>
            <a:ext cx="8640000" cy="396000"/>
          </a:xfrm>
          <a:prstGeom prst="rect">
            <a:avLst/>
          </a:prstGeom>
          <a:noFill/>
        </p:spPr>
        <p:txBody>
          <a:bodyPr wrap="square" lIns="0" tIns="0" rIns="0" bIns="0" rtlCol="0">
            <a:noAutofit/>
          </a:bodyPr>
          <a:lstStyle/>
          <a:p>
            <a:pPr marL="0" indent="0">
              <a:spcBef>
                <a:spcPts val="0"/>
              </a:spcBef>
              <a:defRPr/>
            </a:pPr>
            <a:r>
              <a:rPr lang="de-DE" sz="2200" b="1">
                <a:solidFill>
                  <a:schemeClr val="tx2"/>
                </a:solidFill>
                <a:latin typeface="Calibri"/>
              </a:rPr>
              <a:t>Gliederung</a:t>
            </a:r>
            <a:endParaRPr lang="de-DE" sz="2200" b="1">
              <a:solidFill>
                <a:schemeClr val="tx2"/>
              </a:solidFill>
              <a:latin typeface="Calibri"/>
              <a:cs typeface="Calibri"/>
            </a:endParaRPr>
          </a:p>
        </p:txBody>
      </p:sp>
    </p:spTree>
    <p:extLst>
      <p:ext uri="{BB962C8B-B14F-4D97-AF65-F5344CB8AC3E}">
        <p14:creationId xmlns:p14="http://schemas.microsoft.com/office/powerpoint/2010/main" val="5860102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type="tx" userDrawn="1">
  <p:cSld name="Default - Leer">
    <p:spTree>
      <p:nvGrpSpPr>
        <p:cNvPr id="1" name=""/>
        <p:cNvGrpSpPr/>
        <p:nvPr/>
      </p:nvGrpSpPr>
      <p:grpSpPr bwMode="auto">
        <a:xfrm>
          <a:off x="0" y="0"/>
          <a:ext cx="0" cy="0"/>
          <a:chOff x="0" y="0"/>
          <a:chExt cx="0" cy="0"/>
        </a:xfrm>
      </p:grpSpPr>
    </p:spTree>
    <p:extLst>
      <p:ext uri="{BB962C8B-B14F-4D97-AF65-F5344CB8AC3E}">
        <p14:creationId xmlns:p14="http://schemas.microsoft.com/office/powerpoint/2010/main" val="37355159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PhAnim="0" userDrawn="1">
  <p:cSld name="2_Überschrift + Inhal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062783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PhAnim="0" userDrawn="1">
  <p:cSld name="2_Titel und Inhalt">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a:xfrm>
            <a:off x="204788" y="1052736"/>
            <a:ext cx="8688387" cy="1127200"/>
          </a:xfrm>
        </p:spPr>
        <p:txBody>
          <a:bodyPr/>
          <a:lstStyle>
            <a:lvl1pPr>
              <a:defRPr sz="1500" b="0" i="0">
                <a:latin typeface="Meta Offc Pro"/>
              </a:defRPr>
            </a:lvl1pPr>
            <a:lvl2pPr>
              <a:defRPr sz="1350" b="0" i="0">
                <a:latin typeface="Meta Offc Pro"/>
              </a:defRPr>
            </a:lvl2pPr>
            <a:lvl3pPr>
              <a:defRPr sz="1350" b="0" i="0">
                <a:latin typeface="Meta Offc Pro"/>
              </a:defRPr>
            </a:lvl3pPr>
            <a:lvl4pPr>
              <a:defRPr sz="1350" b="0" i="0">
                <a:latin typeface="Meta Offc Pro"/>
              </a:defRPr>
            </a:lvl4pPr>
            <a:lvl5pPr>
              <a:defRPr sz="1350" b="0" i="0">
                <a:latin typeface="Meta Offc Pro"/>
              </a:defRPr>
            </a:lvl5pPr>
          </a:lstStyle>
          <a:p>
            <a:pPr lvl="0">
              <a:defRPr/>
            </a:pPr>
            <a:r>
              <a:rPr lang="de-DE"/>
              <a:t>Textmasterformate durch Klicken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9" name="Rechteck 8"/>
          <p:cNvSpPr/>
          <p:nvPr userDrawn="1"/>
        </p:nvSpPr>
        <p:spPr bwMode="auto">
          <a:xfrm>
            <a:off x="204789" y="188640"/>
            <a:ext cx="2855044" cy="792087"/>
          </a:xfrm>
          <a:prstGeom prst="rect">
            <a:avLst/>
          </a:prstGeom>
          <a:solidFill>
            <a:srgbClr val="FFFFFF"/>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indent="0" algn="l" defTabSz="685807">
              <a:lnSpc>
                <a:spcPct val="100000"/>
              </a:lnSpc>
              <a:spcBef>
                <a:spcPts val="0"/>
              </a:spcBef>
              <a:spcAft>
                <a:spcPts val="0"/>
              </a:spcAft>
              <a:buClrTx/>
              <a:buSzTx/>
              <a:buFontTx/>
              <a:buNone/>
              <a:defRPr/>
            </a:pPr>
            <a:endParaRPr lang="de-DE" sz="1800" b="0" i="0" u="none" strike="noStrike" cap="none">
              <a:ln>
                <a:noFill/>
              </a:ln>
              <a:solidFill>
                <a:schemeClr val="tx1"/>
              </a:solidFill>
              <a:latin typeface="Arial"/>
              <a:ea typeface="ＭＳ Ｐゴシック"/>
              <a:cs typeface="Arial"/>
            </a:endParaRPr>
          </a:p>
        </p:txBody>
      </p:sp>
      <p:pic>
        <p:nvPicPr>
          <p:cNvPr id="11" name="Grafik 10" descr="Ein Bild, das Text, ClipArt enthält.&#10;&#10;Automatisch generierte Beschreibung"/>
          <p:cNvPicPr>
            <a:picLocks noChangeAspect="1"/>
          </p:cNvPicPr>
          <p:nvPr userDrawn="1"/>
        </p:nvPicPr>
        <p:blipFill>
          <a:blip r:embed="rId2"/>
          <a:stretch/>
        </p:blipFill>
        <p:spPr bwMode="auto">
          <a:xfrm>
            <a:off x="204788" y="188640"/>
            <a:ext cx="1349667" cy="605160"/>
          </a:xfrm>
          <a:prstGeom prst="rect">
            <a:avLst/>
          </a:prstGeom>
        </p:spPr>
      </p:pic>
      <p:sp>
        <p:nvSpPr>
          <p:cNvPr id="12" name="Titel 2"/>
          <p:cNvSpPr>
            <a:spLocks noGrp="1"/>
          </p:cNvSpPr>
          <p:nvPr>
            <p:ph type="title" idx="4294967295"/>
          </p:nvPr>
        </p:nvSpPr>
        <p:spPr bwMode="auto">
          <a:xfrm>
            <a:off x="1655676" y="288106"/>
            <a:ext cx="7237499" cy="307259"/>
          </a:xfrm>
        </p:spPr>
        <p:txBody>
          <a:bodyPr/>
          <a:lstStyle>
            <a:lvl1pPr>
              <a:defRPr>
                <a:solidFill>
                  <a:schemeClr val="bg2"/>
                </a:solidFill>
              </a:defRPr>
            </a:lvl1pPr>
          </a:lstStyle>
          <a:p>
            <a:pPr>
              <a:defRPr/>
            </a:pPr>
            <a:endParaRPr lang="de-DE"/>
          </a:p>
        </p:txBody>
      </p:sp>
      <p:sp>
        <p:nvSpPr>
          <p:cNvPr id="8" name="Foliennummernplatzhalter 5"/>
          <p:cNvSpPr>
            <a:spLocks noGrp="1"/>
          </p:cNvSpPr>
          <p:nvPr>
            <p:ph type="sldNum" sz="quarter" idx="4"/>
          </p:nvPr>
        </p:nvSpPr>
        <p:spPr bwMode="auto">
          <a:xfrm>
            <a:off x="6457951" y="6523846"/>
            <a:ext cx="2057400" cy="230852"/>
          </a:xfrm>
          <a:prstGeom prst="rect">
            <a:avLst/>
          </a:prstGeom>
        </p:spPr>
        <p:txBody>
          <a:bodyPr vert="horz" lIns="91440" tIns="45720" rIns="91440" bIns="45720" rtlCol="0" anchor="ctr"/>
          <a:lstStyle>
            <a:lvl1pPr algn="r">
              <a:defRPr sz="900">
                <a:solidFill>
                  <a:schemeClr val="tx1">
                    <a:tint val="75000"/>
                  </a:schemeClr>
                </a:solidFill>
                <a:latin typeface="Open Sans"/>
                <a:ea typeface="Open Sans"/>
                <a:cs typeface="Open Sans"/>
              </a:defRPr>
            </a:lvl1pPr>
          </a:lstStyle>
          <a:p>
            <a:pPr>
              <a:defRPr/>
            </a:pPr>
            <a:fld id="{7D26CBBC-A65C-324F-A558-3C7EC3B0734D}" type="slidenum">
              <a:rPr lang="de-DE"/>
              <a:t>‹Nr.›</a:t>
            </a:fld>
            <a:endParaRPr lang="de-DE"/>
          </a:p>
        </p:txBody>
      </p:sp>
      <p:sp>
        <p:nvSpPr>
          <p:cNvPr id="10" name="Datumsplatzhalter 3"/>
          <p:cNvSpPr>
            <a:spLocks noGrp="1"/>
          </p:cNvSpPr>
          <p:nvPr>
            <p:ph type="dt" sz="half" idx="2"/>
          </p:nvPr>
        </p:nvSpPr>
        <p:spPr bwMode="auto">
          <a:xfrm>
            <a:off x="628650" y="6523846"/>
            <a:ext cx="2057400" cy="230852"/>
          </a:xfrm>
          <a:prstGeom prst="rect">
            <a:avLst/>
          </a:prstGeom>
        </p:spPr>
        <p:txBody>
          <a:bodyPr vert="horz" lIns="91440" tIns="45720" rIns="91440" bIns="45720" rtlCol="0" anchor="ctr"/>
          <a:lstStyle>
            <a:lvl1pPr algn="l">
              <a:defRPr sz="900">
                <a:solidFill>
                  <a:schemeClr val="tx1">
                    <a:tint val="75000"/>
                  </a:schemeClr>
                </a:solidFill>
                <a:latin typeface="Open Sans"/>
                <a:ea typeface="Open Sans"/>
                <a:cs typeface="Open Sans"/>
              </a:defRPr>
            </a:lvl1pPr>
          </a:lstStyle>
          <a:p>
            <a:pPr>
              <a:defRPr/>
            </a:pPr>
            <a:r>
              <a:rPr lang="de-DE"/>
              <a:t>18.01.2022</a:t>
            </a:r>
          </a:p>
        </p:txBody>
      </p:sp>
    </p:spTree>
    <p:extLst>
      <p:ext uri="{BB962C8B-B14F-4D97-AF65-F5344CB8AC3E}">
        <p14:creationId xmlns:p14="http://schemas.microsoft.com/office/powerpoint/2010/main" val="17097860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PhAnim="0" userDrawn="1">
  <p:cSld name="1_Freie Gestaltung">
    <p:spTree>
      <p:nvGrpSpPr>
        <p:cNvPr id="1" name=""/>
        <p:cNvGrpSpPr/>
        <p:nvPr/>
      </p:nvGrpSpPr>
      <p:grpSpPr bwMode="auto">
        <a:xfrm>
          <a:off x="0" y="0"/>
          <a:ext cx="0" cy="0"/>
          <a:chOff x="0" y="0"/>
          <a:chExt cx="0" cy="0"/>
        </a:xfrm>
      </p:grpSpPr>
    </p:spTree>
    <p:extLst>
      <p:ext uri="{BB962C8B-B14F-4D97-AF65-F5344CB8AC3E}">
        <p14:creationId xmlns:p14="http://schemas.microsoft.com/office/powerpoint/2010/main" val="4047725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userDrawn="1">
  <p:cSld name="Zwischenfolie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324000"/>
            <a:ext cx="8640000" cy="6372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Tree>
    <p:extLst>
      <p:ext uri="{BB962C8B-B14F-4D97-AF65-F5344CB8AC3E}">
        <p14:creationId xmlns:p14="http://schemas.microsoft.com/office/powerpoint/2010/main" val="1200295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60719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Ü | freie Gestaltung">
    <p:spTree>
      <p:nvGrpSpPr>
        <p:cNvPr id="1" name=""/>
        <p:cNvGrpSpPr/>
        <p:nvPr/>
      </p:nvGrpSpPr>
      <p:grpSpPr>
        <a:xfrm>
          <a:off x="0" y="0"/>
          <a:ext cx="0" cy="0"/>
          <a:chOff x="0" y="0"/>
          <a:chExt cx="0" cy="0"/>
        </a:xfrm>
      </p:grpSpPr>
      <p:sp>
        <p:nvSpPr>
          <p:cNvPr id="9" name="Titelplatzhalter 2"/>
          <p:cNvSpPr>
            <a:spLocks noGrp="1"/>
          </p:cNvSpPr>
          <p:nvPr>
            <p:ph type="title"/>
          </p:nvPr>
        </p:nvSpPr>
        <p:spPr>
          <a:xfrm>
            <a:off x="108000" y="332656"/>
            <a:ext cx="8424936" cy="490861"/>
          </a:xfrm>
          <a:prstGeom prst="rect">
            <a:avLst/>
          </a:prstGeom>
        </p:spPr>
        <p:txBody>
          <a:bodyPr vert="horz" lIns="91440" tIns="45720" rIns="91440" bIns="45720" rtlCol="0" anchor="ctr">
            <a:normAutofit/>
          </a:bodyPr>
          <a:lstStyle>
            <a:lvl1pPr>
              <a:defRPr b="1"/>
            </a:lvl1pPr>
          </a:lstStyle>
          <a:p>
            <a:r>
              <a:rPr lang="de-DE"/>
              <a:t>Titelmasterformat durch Klicken bearbeiten</a:t>
            </a:r>
            <a:endParaRPr lang="de-DE" dirty="0"/>
          </a:p>
        </p:txBody>
      </p:sp>
    </p:spTree>
    <p:extLst>
      <p:ext uri="{BB962C8B-B14F-4D97-AF65-F5344CB8AC3E}">
        <p14:creationId xmlns:p14="http://schemas.microsoft.com/office/powerpoint/2010/main" val="3520318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1.xml"/><Relationship Id="rId7" Type="http://schemas.openxmlformats.org/officeDocument/2006/relationships/image" Target="../media/image8.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6.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9"/>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0"/>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0"/>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0"/>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bwMode="auto">
        <a:xfrm>
          <a:off x="0" y="0"/>
          <a:ext cx="0" cy="0"/>
          <a:chOff x="0" y="0"/>
          <a:chExt cx="0" cy="0"/>
        </a:xfrm>
      </p:grpSpPr>
      <p:sp>
        <p:nvSpPr>
          <p:cNvPr id="14" name="Rectangle 17"/>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pPr>
              <a:defRPr/>
            </a:pPr>
            <a:endParaRPr lang="de-DE" b="0" i="0">
              <a:latin typeface="Calibri Normal"/>
            </a:endParaRPr>
          </a:p>
        </p:txBody>
      </p:sp>
      <p:sp>
        <p:nvSpPr>
          <p:cNvPr id="4" name="Titelplatzhalter 3"/>
          <p:cNvSpPr>
            <a:spLocks noGrp="1"/>
          </p:cNvSpPr>
          <p:nvPr>
            <p:ph type="title"/>
          </p:nvPr>
        </p:nvSpPr>
        <p:spPr bwMode="auto">
          <a:xfrm>
            <a:off x="252000" y="324000"/>
            <a:ext cx="8640000" cy="396000"/>
          </a:xfrm>
          <a:prstGeom prst="rect">
            <a:avLst/>
          </a:prstGeom>
        </p:spPr>
        <p:txBody>
          <a:bodyPr vert="horz" lIns="0" tIns="0" rIns="0" bIns="0" rtlCol="0" anchor="t" anchorCtr="0">
            <a:noAutofit/>
          </a:bodyPr>
          <a:lstStyle/>
          <a:p>
            <a:pPr>
              <a:defRPr/>
            </a:pPr>
            <a:r>
              <a:rPr lang="de-DE"/>
              <a:t>Mastertitelformat bearbeiten</a:t>
            </a:r>
            <a:endParaRPr/>
          </a:p>
        </p:txBody>
      </p:sp>
    </p:spTree>
    <p:extLst>
      <p:ext uri="{BB962C8B-B14F-4D97-AF65-F5344CB8AC3E}">
        <p14:creationId xmlns:p14="http://schemas.microsoft.com/office/powerpoint/2010/main" val="147363433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4" r:id="rId9"/>
    <p:sldLayoutId id="2147483785" r:id="rId10"/>
    <p:sldLayoutId id="2147483786" r:id="rId11"/>
  </p:sldLayoutIdLst>
  <p:hf sldNum="0" hdr="0" dt="0"/>
  <p:txStyles>
    <p:titleStyle>
      <a:lvl1pPr algn="l">
        <a:spcBef>
          <a:spcPts val="0"/>
        </a:spcBef>
        <a:spcAft>
          <a:spcPts val="0"/>
        </a:spcAft>
        <a:defRPr sz="2200" b="1">
          <a:solidFill>
            <a:srgbClr val="327A86"/>
          </a:solidFill>
          <a:latin typeface="Calibri"/>
          <a:ea typeface="+mj-ea"/>
          <a:cs typeface="Calibri"/>
        </a:defRPr>
      </a:lvl1pPr>
      <a:lvl2pPr algn="l">
        <a:spcBef>
          <a:spcPts val="0"/>
        </a:spcBef>
        <a:spcAft>
          <a:spcPts val="0"/>
        </a:spcAft>
        <a:defRPr sz="3200">
          <a:solidFill>
            <a:schemeClr val="tx2"/>
          </a:solidFill>
          <a:latin typeface="Arial"/>
          <a:ea typeface="ＭＳ Ｐゴシック"/>
          <a:cs typeface="ＭＳ Ｐゴシック"/>
        </a:defRPr>
      </a:lvl2pPr>
      <a:lvl3pPr algn="l">
        <a:spcBef>
          <a:spcPts val="0"/>
        </a:spcBef>
        <a:spcAft>
          <a:spcPts val="0"/>
        </a:spcAft>
        <a:defRPr sz="3200">
          <a:solidFill>
            <a:schemeClr val="tx2"/>
          </a:solidFill>
          <a:latin typeface="Arial"/>
          <a:ea typeface="ＭＳ Ｐゴシック"/>
          <a:cs typeface="ＭＳ Ｐゴシック"/>
        </a:defRPr>
      </a:lvl3pPr>
      <a:lvl4pPr algn="l">
        <a:spcBef>
          <a:spcPts val="0"/>
        </a:spcBef>
        <a:spcAft>
          <a:spcPts val="0"/>
        </a:spcAft>
        <a:defRPr sz="3200">
          <a:solidFill>
            <a:schemeClr val="tx2"/>
          </a:solidFill>
          <a:latin typeface="Arial"/>
          <a:ea typeface="ＭＳ Ｐゴシック"/>
          <a:cs typeface="ＭＳ Ｐゴシック"/>
        </a:defRPr>
      </a:lvl4pPr>
      <a:lvl5pPr algn="l">
        <a:spcBef>
          <a:spcPts val="0"/>
        </a:spcBef>
        <a:spcAft>
          <a:spcPts val="0"/>
        </a:spcAft>
        <a:defRPr sz="3200">
          <a:solidFill>
            <a:schemeClr val="tx2"/>
          </a:solidFill>
          <a:latin typeface="Arial"/>
          <a:ea typeface="ＭＳ Ｐゴシック"/>
          <a:cs typeface="ＭＳ Ｐゴシック"/>
        </a:defRPr>
      </a:lvl5pPr>
      <a:lvl6pPr marL="457200" algn="l">
        <a:spcBef>
          <a:spcPts val="0"/>
        </a:spcBef>
        <a:spcAft>
          <a:spcPts val="0"/>
        </a:spcAft>
        <a:defRPr sz="3200">
          <a:solidFill>
            <a:schemeClr val="tx2"/>
          </a:solidFill>
          <a:latin typeface="Arial"/>
          <a:ea typeface="ＭＳ Ｐゴシック"/>
          <a:cs typeface="ＭＳ Ｐゴシック"/>
        </a:defRPr>
      </a:lvl6pPr>
      <a:lvl7pPr marL="914400" algn="l">
        <a:spcBef>
          <a:spcPts val="0"/>
        </a:spcBef>
        <a:spcAft>
          <a:spcPts val="0"/>
        </a:spcAft>
        <a:defRPr sz="3200">
          <a:solidFill>
            <a:schemeClr val="tx2"/>
          </a:solidFill>
          <a:latin typeface="Arial"/>
          <a:ea typeface="ＭＳ Ｐゴシック"/>
          <a:cs typeface="ＭＳ Ｐゴシック"/>
        </a:defRPr>
      </a:lvl7pPr>
      <a:lvl8pPr marL="1371600" algn="l">
        <a:spcBef>
          <a:spcPts val="0"/>
        </a:spcBef>
        <a:spcAft>
          <a:spcPts val="0"/>
        </a:spcAft>
        <a:defRPr sz="3200">
          <a:solidFill>
            <a:schemeClr val="tx2"/>
          </a:solidFill>
          <a:latin typeface="Arial"/>
          <a:ea typeface="ＭＳ Ｐゴシック"/>
          <a:cs typeface="ＭＳ Ｐゴシック"/>
        </a:defRPr>
      </a:lvl8pPr>
      <a:lvl9pPr marL="1828800" algn="l">
        <a:spcBef>
          <a:spcPts val="0"/>
        </a:spcBef>
        <a:spcAft>
          <a:spcPts val="0"/>
        </a:spcAft>
        <a:defRPr sz="3200">
          <a:solidFill>
            <a:schemeClr val="tx2"/>
          </a:solidFill>
          <a:latin typeface="Arial"/>
          <a:ea typeface="ＭＳ Ｐゴシック"/>
          <a:cs typeface="ＭＳ Ｐゴシック"/>
        </a:defRPr>
      </a:lvl9pPr>
    </p:titleStyle>
    <p:bodyStyle>
      <a:lvl1pPr marL="342000" indent="-342900" algn="l">
        <a:lnSpc>
          <a:spcPct val="100000"/>
        </a:lnSpc>
        <a:spcBef>
          <a:spcPts val="576"/>
        </a:spcBef>
        <a:spcAft>
          <a:spcPts val="600"/>
        </a:spcAft>
        <a:buClr>
          <a:srgbClr val="327A86"/>
        </a:buClr>
        <a:buFont typeface="Wingdings"/>
        <a:buChar char="§"/>
        <a:defRPr sz="2000">
          <a:solidFill>
            <a:schemeClr val="tx1"/>
          </a:solidFill>
          <a:latin typeface="Calibri"/>
          <a:ea typeface="+mn-ea"/>
          <a:cs typeface="Calibri"/>
        </a:defRPr>
      </a:lvl1pPr>
      <a:lvl2pPr marL="742950" indent="-285750" algn="l">
        <a:lnSpc>
          <a:spcPct val="100000"/>
        </a:lnSpc>
        <a:spcBef>
          <a:spcPts val="0"/>
        </a:spcBef>
        <a:spcAft>
          <a:spcPts val="600"/>
        </a:spcAft>
        <a:buClr>
          <a:srgbClr val="737373"/>
        </a:buClr>
        <a:buFont typeface="Wingdings"/>
        <a:buChar char="§"/>
        <a:defRPr sz="1800">
          <a:solidFill>
            <a:schemeClr val="tx1"/>
          </a:solidFill>
          <a:latin typeface="Calibri"/>
          <a:ea typeface="+mn-ea"/>
          <a:cs typeface="Calibri"/>
        </a:defRPr>
      </a:lvl2pPr>
      <a:lvl3pPr marL="1143000" indent="-228600" algn="l">
        <a:lnSpc>
          <a:spcPct val="100000"/>
        </a:lnSpc>
        <a:spcBef>
          <a:spcPts val="0"/>
        </a:spcBef>
        <a:spcAft>
          <a:spcPts val="600"/>
        </a:spcAft>
        <a:buClr>
          <a:srgbClr val="CBB98A"/>
        </a:buClr>
        <a:buFont typeface="Wingdings"/>
        <a:buChar char="§"/>
        <a:defRPr>
          <a:solidFill>
            <a:schemeClr val="tx1"/>
          </a:solidFill>
          <a:latin typeface="Calibri"/>
          <a:ea typeface="+mn-ea"/>
          <a:cs typeface="Calibri"/>
        </a:defRPr>
      </a:lvl3pPr>
      <a:lvl4pPr marL="1600200" indent="-228600" algn="l">
        <a:lnSpc>
          <a:spcPct val="100000"/>
        </a:lnSpc>
        <a:spcBef>
          <a:spcPts val="0"/>
        </a:spcBef>
        <a:spcAft>
          <a:spcPts val="600"/>
        </a:spcAft>
        <a:buClr>
          <a:srgbClr val="CBB98A"/>
        </a:buClr>
        <a:buFont typeface="Wingdings"/>
        <a:buChar char="§"/>
        <a:defRPr sz="1800">
          <a:solidFill>
            <a:schemeClr val="tx1"/>
          </a:solidFill>
          <a:latin typeface="Calibri"/>
          <a:ea typeface="+mn-ea"/>
          <a:cs typeface="Calibri"/>
        </a:defRPr>
      </a:lvl4pPr>
      <a:lvl5pPr marL="2057400" indent="-228600" algn="l">
        <a:lnSpc>
          <a:spcPct val="100000"/>
        </a:lnSpc>
        <a:spcBef>
          <a:spcPts val="0"/>
        </a:spcBef>
        <a:spcAft>
          <a:spcPts val="600"/>
        </a:spcAft>
        <a:buClr>
          <a:srgbClr val="CBB98A"/>
        </a:buClr>
        <a:buFont typeface="Wingdings"/>
        <a:buChar char="§"/>
        <a:defRPr sz="1800">
          <a:solidFill>
            <a:schemeClr val="tx1"/>
          </a:solidFill>
          <a:latin typeface="Calibri"/>
          <a:ea typeface="+mn-ea"/>
          <a:cs typeface="Calibri"/>
        </a:defRPr>
      </a:lvl5pPr>
      <a:lvl6pPr marL="2514600" indent="-228600" algn="l">
        <a:spcBef>
          <a:spcPts val="0"/>
        </a:spcBef>
        <a:spcAft>
          <a:spcPts val="0"/>
        </a:spcAft>
        <a:buChar char="*"/>
        <a:defRPr sz="1200">
          <a:solidFill>
            <a:schemeClr val="tx1"/>
          </a:solidFill>
          <a:latin typeface="+mn-lt"/>
          <a:ea typeface="+mn-ea"/>
        </a:defRPr>
      </a:lvl6pPr>
      <a:lvl7pPr marL="2971800" indent="-228600" algn="l">
        <a:spcBef>
          <a:spcPts val="0"/>
        </a:spcBef>
        <a:spcAft>
          <a:spcPts val="0"/>
        </a:spcAft>
        <a:buChar char="*"/>
        <a:defRPr sz="1200">
          <a:solidFill>
            <a:schemeClr val="tx1"/>
          </a:solidFill>
          <a:latin typeface="+mn-lt"/>
          <a:ea typeface="+mn-ea"/>
        </a:defRPr>
      </a:lvl7pPr>
      <a:lvl8pPr marL="3429000" indent="-228600" algn="l">
        <a:spcBef>
          <a:spcPts val="0"/>
        </a:spcBef>
        <a:spcAft>
          <a:spcPts val="0"/>
        </a:spcAft>
        <a:buChar char="*"/>
        <a:defRPr sz="1200">
          <a:solidFill>
            <a:schemeClr val="tx1"/>
          </a:solidFill>
          <a:latin typeface="+mn-lt"/>
          <a:ea typeface="+mn-ea"/>
        </a:defRPr>
      </a:lvl8pPr>
      <a:lvl9pPr marL="3886200" indent="-228600" algn="l">
        <a:spcBef>
          <a:spcPts val="0"/>
        </a:spcBef>
        <a:spcAft>
          <a:spcPts val="0"/>
        </a:spcAft>
        <a:buChar char="*"/>
        <a:defRPr sz="1200">
          <a:solidFill>
            <a:schemeClr val="tx1"/>
          </a:solidFill>
          <a:latin typeface="+mn-lt"/>
          <a:ea typeface="+mn-ea"/>
        </a:defRPr>
      </a:lvl9pPr>
    </p:bodyStyle>
    <p:otherStyle>
      <a:defPPr>
        <a:defRPr lang="de-DE"/>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2.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13.jpeg"/><Relationship Id="rId9" Type="http://schemas.openxmlformats.org/officeDocument/2006/relationships/image" Target="../media/image15.jpeg"/></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24.tiff"/></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24.tiff"/></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hyperlink" Target="https://mahiko.dzlm.de/node/104" TargetMode="External"/><Relationship Id="rId4" Type="http://schemas.openxmlformats.org/officeDocument/2006/relationships/hyperlink" Target="https://mahiko.dzlm.de/node/47"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hyperlink" Target="https://mahiko.dzlm.de/node/47"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hyperlink" Target="https://mahiko.dzlm.de/node/104"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Arithmetik im Schuljahr 1 und 2</a:t>
            </a:r>
          </a:p>
          <a:p>
            <a:pPr marL="342900" indent="-342900" algn="ctr">
              <a:spcBef>
                <a:spcPts val="400"/>
              </a:spcBef>
            </a:pPr>
            <a:r>
              <a:rPr lang="de-DE" b="1" dirty="0">
                <a:latin typeface="Calibri"/>
                <a:cs typeface="Calibri"/>
              </a:rPr>
              <a:t>Fachnetzwerktreffen 3</a:t>
            </a:r>
          </a:p>
          <a:p>
            <a:pPr marL="342900" indent="-342900" algn="ctr">
              <a:spcBef>
                <a:spcPts val="400"/>
              </a:spcBef>
            </a:pPr>
            <a:r>
              <a:rPr lang="de-DE" b="1" dirty="0">
                <a:latin typeface="Calibri"/>
                <a:cs typeface="Calibri"/>
              </a:rPr>
              <a:t>Operationsverständnis Addition/Subtraktion</a:t>
            </a: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square" rtlCol="0">
            <a:spAutoFit/>
          </a:bodyPr>
          <a:lstStyle/>
          <a:p>
            <a:pPr marL="342900" indent="-342900">
              <a:spcBef>
                <a:spcPts val="400"/>
              </a:spcBef>
            </a:pPr>
            <a:r>
              <a:rPr lang="de-DE" sz="1800" dirty="0" err="1">
                <a:latin typeface="Calibri"/>
                <a:cs typeface="Calibri"/>
              </a:rPr>
              <a:t>SchuMaS</a:t>
            </a:r>
            <a:r>
              <a:rPr lang="de-DE" sz="180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Katrin Gruhn,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pic>
        <p:nvPicPr>
          <p:cNvPr id="16" name="Grafik 15">
            <a:extLst>
              <a:ext uri="{FF2B5EF4-FFF2-40B4-BE49-F238E27FC236}">
                <a16:creationId xmlns:a16="http://schemas.microsoft.com/office/drawing/2014/main" id="{17DEC4A8-F15D-1CBF-E4C4-6835EE276711}"/>
              </a:ext>
            </a:extLst>
          </p:cNvPr>
          <p:cNvPicPr>
            <a:picLocks noChangeAspect="1"/>
          </p:cNvPicPr>
          <p:nvPr/>
        </p:nvPicPr>
        <p:blipFill>
          <a:blip r:embed="rId9"/>
          <a:stretch>
            <a:fillRect/>
          </a:stretch>
        </p:blipFill>
        <p:spPr>
          <a:xfrm>
            <a:off x="19081" y="1567505"/>
            <a:ext cx="9114615" cy="2245983"/>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0C28F0-56E9-85E8-67AC-E41C6BC961B3}"/>
            </a:ext>
          </a:extLst>
        </p:cNvPr>
        <p:cNvGrpSpPr/>
        <p:nvPr/>
      </p:nvGrpSpPr>
      <p:grpSpPr>
        <a:xfrm>
          <a:off x="0" y="0"/>
          <a:ext cx="0" cy="0"/>
          <a:chOff x="0" y="0"/>
          <a:chExt cx="0" cy="0"/>
        </a:xfrm>
      </p:grpSpPr>
      <p:sp>
        <p:nvSpPr>
          <p:cNvPr id="9" name="Gefaltete Ecke 8">
            <a:extLst>
              <a:ext uri="{FF2B5EF4-FFF2-40B4-BE49-F238E27FC236}">
                <a16:creationId xmlns:a16="http://schemas.microsoft.com/office/drawing/2014/main" id="{39C7BB17-023E-4D52-503B-7CBA7835C430}"/>
              </a:ext>
            </a:extLst>
          </p:cNvPr>
          <p:cNvSpPr/>
          <p:nvPr/>
        </p:nvSpPr>
        <p:spPr>
          <a:xfrm>
            <a:off x="107788" y="274288"/>
            <a:ext cx="8928424" cy="927211"/>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dirty="0">
                <a:solidFill>
                  <a:srgbClr val="000000"/>
                </a:solidFill>
                <a:effectLst/>
                <a:ea typeface="Calibri" panose="020F0502020204030204" pitchFamily="34" charset="0"/>
                <a:cs typeface="Calibri" panose="020F0502020204030204" pitchFamily="34" charset="0"/>
              </a:rPr>
              <a:t> </a:t>
            </a:r>
            <a:endParaRPr lang="de-DE" sz="1200" dirty="0">
              <a:effectLst/>
              <a:ea typeface="Calibri" panose="020F0502020204030204" pitchFamily="34" charset="0"/>
              <a:cs typeface="Times New Roman" panose="02020603050405020304" pitchFamily="18" charset="0"/>
            </a:endParaRPr>
          </a:p>
        </p:txBody>
      </p:sp>
      <p:pic>
        <p:nvPicPr>
          <p:cNvPr id="12" name="Picture 3">
            <a:extLst>
              <a:ext uri="{FF2B5EF4-FFF2-40B4-BE49-F238E27FC236}">
                <a16:creationId xmlns:a16="http://schemas.microsoft.com/office/drawing/2014/main" id="{C12DAE2C-39C2-FC06-FE5C-7B31FA3B3EE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 name="Rechteck 1">
            <a:extLst>
              <a:ext uri="{FF2B5EF4-FFF2-40B4-BE49-F238E27FC236}">
                <a16:creationId xmlns:a16="http://schemas.microsoft.com/office/drawing/2014/main" id="{01548A96-1AA4-54B3-48BA-BCE15F929C02}"/>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sp>
        <p:nvSpPr>
          <p:cNvPr id="3" name="Textfeld 1">
            <a:extLst>
              <a:ext uri="{FF2B5EF4-FFF2-40B4-BE49-F238E27FC236}">
                <a16:creationId xmlns:a16="http://schemas.microsoft.com/office/drawing/2014/main" id="{67BD3F8B-6547-B84A-5DFA-03FFD4F0309E}"/>
              </a:ext>
            </a:extLst>
          </p:cNvPr>
          <p:cNvSpPr txBox="1"/>
          <p:nvPr/>
        </p:nvSpPr>
        <p:spPr>
          <a:xfrm>
            <a:off x="1042071" y="366986"/>
            <a:ext cx="7843949" cy="733866"/>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pic>
        <p:nvPicPr>
          <p:cNvPr id="4" name="Grafik 3">
            <a:extLst>
              <a:ext uri="{FF2B5EF4-FFF2-40B4-BE49-F238E27FC236}">
                <a16:creationId xmlns:a16="http://schemas.microsoft.com/office/drawing/2014/main" id="{273B5A31-E01C-5FA7-FE0F-B4242A445782}"/>
              </a:ext>
            </a:extLst>
          </p:cNvPr>
          <p:cNvPicPr>
            <a:picLocks noChangeAspect="1"/>
          </p:cNvPicPr>
          <p:nvPr/>
        </p:nvPicPr>
        <p:blipFill>
          <a:blip r:embed="rId4"/>
          <a:stretch>
            <a:fillRect/>
          </a:stretch>
        </p:blipFill>
        <p:spPr>
          <a:xfrm>
            <a:off x="539552" y="1355543"/>
            <a:ext cx="7772400" cy="4083468"/>
          </a:xfrm>
          <a:prstGeom prst="rect">
            <a:avLst/>
          </a:prstGeom>
        </p:spPr>
      </p:pic>
      <p:sp>
        <p:nvSpPr>
          <p:cNvPr id="6" name="Abgerundete rechteckige Legende 9">
            <a:extLst>
              <a:ext uri="{FF2B5EF4-FFF2-40B4-BE49-F238E27FC236}">
                <a16:creationId xmlns:a16="http://schemas.microsoft.com/office/drawing/2014/main" id="{E188192F-FDED-6EB9-02AE-4C30F46D92A8}"/>
              </a:ext>
            </a:extLst>
          </p:cNvPr>
          <p:cNvSpPr/>
          <p:nvPr/>
        </p:nvSpPr>
        <p:spPr bwMode="auto">
          <a:xfrm>
            <a:off x="654622" y="5439011"/>
            <a:ext cx="2288279" cy="927211"/>
          </a:xfrm>
          <a:prstGeom prst="wedgeRoundRectCallout">
            <a:avLst>
              <a:gd name="adj1" fmla="val -2143"/>
              <a:gd name="adj2" fmla="val -72803"/>
              <a:gd name="adj3" fmla="val 16667"/>
            </a:avLst>
          </a:prstGeom>
          <a:solidFill>
            <a:schemeClr val="bg1"/>
          </a:solidFill>
          <a:ln w="38100" cap="flat" cmpd="sng" algn="ctr">
            <a:solidFill>
              <a:schemeClr val="tx2"/>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10 Flaschen im Kasten und 2 Flaschen außerhalb des Kastens sind insgesamt 12 Flaschen 10 + 2 = 12</a:t>
            </a:r>
          </a:p>
        </p:txBody>
      </p:sp>
      <p:sp>
        <p:nvSpPr>
          <p:cNvPr id="13" name="Abgerundete rechteckige Legende 10">
            <a:extLst>
              <a:ext uri="{FF2B5EF4-FFF2-40B4-BE49-F238E27FC236}">
                <a16:creationId xmlns:a16="http://schemas.microsoft.com/office/drawing/2014/main" id="{2EF6FD3D-9E4A-5690-1FE9-E1C83EF280C7}"/>
              </a:ext>
            </a:extLst>
          </p:cNvPr>
          <p:cNvSpPr/>
          <p:nvPr/>
        </p:nvSpPr>
        <p:spPr bwMode="auto">
          <a:xfrm>
            <a:off x="3057971" y="5656501"/>
            <a:ext cx="2421189" cy="927211"/>
          </a:xfrm>
          <a:prstGeom prst="wedgeRoundRectCallout">
            <a:avLst>
              <a:gd name="adj1" fmla="val -57565"/>
              <a:gd name="adj2" fmla="val -93083"/>
              <a:gd name="adj3" fmla="val 16667"/>
            </a:avLst>
          </a:prstGeom>
          <a:solidFill>
            <a:schemeClr val="bg1"/>
          </a:solidFill>
          <a:ln w="38100" cap="flat" cmpd="sng" algn="ctr">
            <a:solidFill>
              <a:schemeClr val="accent1"/>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12 Flaschen. 2 Flaschen wurden aus dem Kasten genommen, 10 Flaschen sind noch im Kasten. 12 – 2 = 10</a:t>
            </a:r>
          </a:p>
        </p:txBody>
      </p:sp>
    </p:spTree>
    <p:extLst>
      <p:ext uri="{BB962C8B-B14F-4D97-AF65-F5344CB8AC3E}">
        <p14:creationId xmlns:p14="http://schemas.microsoft.com/office/powerpoint/2010/main" val="519588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F17DA15-8B9A-D181-2D1E-4B35311F5A30}"/>
              </a:ext>
            </a:extLst>
          </p:cNvPr>
          <p:cNvSpPr/>
          <p:nvPr/>
        </p:nvSpPr>
        <p:spPr bwMode="auto">
          <a:xfrm>
            <a:off x="0" y="3851266"/>
            <a:ext cx="9144000" cy="892184"/>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a:ln>
                <a:noFill/>
              </a:ln>
              <a:solidFill>
                <a:schemeClr val="tx1"/>
              </a:solidFill>
              <a:effectLst/>
              <a:latin typeface="Calibri" panose="020F0502020204030204" pitchFamily="34" charset="0"/>
            </a:endParaRPr>
          </a:p>
        </p:txBody>
      </p:sp>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2201198"/>
          </a:xfrm>
        </p:spPr>
        <p:txBody>
          <a:bodyPr/>
          <a:lstStyle/>
          <a:p>
            <a:r>
              <a:rPr lang="de-DE" dirty="0"/>
              <a:t>Die nächsten Folien dienen dazu:</a:t>
            </a:r>
          </a:p>
          <a:p>
            <a:pPr lvl="1"/>
            <a:r>
              <a:rPr lang="de-DE" dirty="0"/>
              <a:t>die Praxiserprobung in Hinblick auf die Kernbotschaft zu reflektieren.</a:t>
            </a:r>
          </a:p>
          <a:p>
            <a:pPr lvl="1"/>
            <a:r>
              <a:rPr lang="de-DE" dirty="0"/>
              <a:t>Variationen der Praxiserprobung für den Einsatz bei der Thematisierung von Multiplikation und Division zu sammeln. </a:t>
            </a:r>
          </a:p>
          <a:p>
            <a:pPr>
              <a:spcAft>
                <a:spcPts val="0"/>
              </a:spcAft>
            </a:pPr>
            <a:r>
              <a:rPr lang="de-DE" dirty="0"/>
              <a:t>Didaktische Umsetzung:</a:t>
            </a:r>
            <a:br>
              <a:rPr lang="de-DE" dirty="0"/>
            </a:br>
            <a:r>
              <a:rPr lang="de-DE" dirty="0"/>
              <a:t>Diskutieren Sie mit Ihrem Kollegium die folgenden Reflexionsfragen:</a:t>
            </a:r>
          </a:p>
          <a:p>
            <a:pPr lvl="2">
              <a:spcAft>
                <a:spcPts val="0"/>
              </a:spcAft>
            </a:pPr>
            <a:r>
              <a:rPr lang="de-DE" i="1" dirty="0"/>
              <a:t>Inwiefern wird die Kernbotschaft in der Praxiserprobung ‚Addition und Subtraktion in der Umwelt‘ berücksichtigt?</a:t>
            </a:r>
          </a:p>
          <a:p>
            <a:pPr lvl="2"/>
            <a:r>
              <a:rPr lang="de-DE" i="1" dirty="0"/>
              <a:t>Inwiefern lassen sich Wimmelbilder auch nach der 1. und 2. Klasse einsetzen? </a:t>
            </a:r>
          </a:p>
          <a:p>
            <a:pPr marL="216000" lvl="2" indent="0">
              <a:buNone/>
            </a:pPr>
            <a:r>
              <a:rPr lang="de-DE" dirty="0"/>
              <a:t>Die folgenden Folien können optional zu Veranschaulichung verwendet werden. </a:t>
            </a:r>
          </a:p>
          <a:p>
            <a:pPr marL="216000" lvl="1" indent="0">
              <a:buNone/>
            </a:pPr>
            <a:endParaRPr lang="de-DE" dirty="0"/>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566879446"/>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Reflexion der Praxiserprobun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1074207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267E1-F961-7AF5-6B16-45FE448CE326}"/>
            </a:ext>
          </a:extLst>
        </p:cNvPr>
        <p:cNvGrpSpPr/>
        <p:nvPr/>
      </p:nvGrpSpPr>
      <p:grpSpPr>
        <a:xfrm>
          <a:off x="0" y="0"/>
          <a:ext cx="0" cy="0"/>
          <a:chOff x="0" y="0"/>
          <a:chExt cx="0" cy="0"/>
        </a:xfrm>
      </p:grpSpPr>
      <p:grpSp>
        <p:nvGrpSpPr>
          <p:cNvPr id="14" name="Gruppieren 13">
            <a:extLst>
              <a:ext uri="{FF2B5EF4-FFF2-40B4-BE49-F238E27FC236}">
                <a16:creationId xmlns:a16="http://schemas.microsoft.com/office/drawing/2014/main" id="{D02D5CB6-7FE4-4FFC-3D78-9247C7576FDC}"/>
              </a:ext>
            </a:extLst>
          </p:cNvPr>
          <p:cNvGrpSpPr/>
          <p:nvPr/>
        </p:nvGrpSpPr>
        <p:grpSpPr>
          <a:xfrm>
            <a:off x="107788" y="274288"/>
            <a:ext cx="8928424" cy="927211"/>
            <a:chOff x="0" y="0"/>
            <a:chExt cx="5818764" cy="733300"/>
          </a:xfrm>
        </p:grpSpPr>
        <p:sp>
          <p:nvSpPr>
            <p:cNvPr id="15" name="Gefaltete Ecke 14">
              <a:extLst>
                <a:ext uri="{FF2B5EF4-FFF2-40B4-BE49-F238E27FC236}">
                  <a16:creationId xmlns:a16="http://schemas.microsoft.com/office/drawing/2014/main" id="{41EEFFED-5F31-1998-B182-345B3523D790}"/>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6" name="Textfeld 1">
              <a:extLst>
                <a:ext uri="{FF2B5EF4-FFF2-40B4-BE49-F238E27FC236}">
                  <a16:creationId xmlns:a16="http://schemas.microsoft.com/office/drawing/2014/main" id="{102A004B-0E9C-A98E-23CF-9617C076F39D}"/>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7ACDF4B7-4C12-55BF-5E1F-57C259A04F15}"/>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Rechteck 2">
            <a:extLst>
              <a:ext uri="{FF2B5EF4-FFF2-40B4-BE49-F238E27FC236}">
                <a16:creationId xmlns:a16="http://schemas.microsoft.com/office/drawing/2014/main" id="{3C7E35D9-0CDC-7510-7956-DD48B6267C08}"/>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pic>
        <p:nvPicPr>
          <p:cNvPr id="17" name="Grafik 16">
            <a:extLst>
              <a:ext uri="{FF2B5EF4-FFF2-40B4-BE49-F238E27FC236}">
                <a16:creationId xmlns:a16="http://schemas.microsoft.com/office/drawing/2014/main" id="{0502ADEB-8AAC-7D22-B21F-3444AC645888}"/>
              </a:ext>
            </a:extLst>
          </p:cNvPr>
          <p:cNvPicPr>
            <a:picLocks noChangeAspect="1"/>
          </p:cNvPicPr>
          <p:nvPr/>
        </p:nvPicPr>
        <p:blipFill>
          <a:blip r:embed="rId4"/>
          <a:stretch>
            <a:fillRect/>
          </a:stretch>
        </p:blipFill>
        <p:spPr>
          <a:xfrm>
            <a:off x="1640151" y="1487227"/>
            <a:ext cx="5863697" cy="4592925"/>
          </a:xfrm>
          <a:prstGeom prst="rect">
            <a:avLst/>
          </a:prstGeom>
        </p:spPr>
      </p:pic>
      <p:sp>
        <p:nvSpPr>
          <p:cNvPr id="2" name="Textplatzhalter 2">
            <a:extLst>
              <a:ext uri="{FF2B5EF4-FFF2-40B4-BE49-F238E27FC236}">
                <a16:creationId xmlns:a16="http://schemas.microsoft.com/office/drawing/2014/main" id="{A1D2C43B-795B-D102-B5E7-69E89AE738AD}"/>
              </a:ext>
            </a:extLst>
          </p:cNvPr>
          <p:cNvSpPr>
            <a:spLocks noGrp="1"/>
          </p:cNvSpPr>
          <p:nvPr>
            <p:ph type="body" sz="quarter" idx="10"/>
          </p:nvPr>
        </p:nvSpPr>
        <p:spPr>
          <a:xfrm>
            <a:off x="108000" y="6642000"/>
            <a:ext cx="8928000" cy="216000"/>
          </a:xfrm>
        </p:spPr>
        <p:txBody>
          <a:bodyPr/>
          <a:lstStyle/>
          <a:p>
            <a:r>
              <a:rPr lang="de-DE" dirty="0"/>
              <a:t>Internetquelle: https://mahiko.dzlm.de/node/122</a:t>
            </a:r>
          </a:p>
        </p:txBody>
      </p:sp>
      <p:sp>
        <p:nvSpPr>
          <p:cNvPr id="4" name="Abgerundete rechteckige Legende 9">
            <a:extLst>
              <a:ext uri="{FF2B5EF4-FFF2-40B4-BE49-F238E27FC236}">
                <a16:creationId xmlns:a16="http://schemas.microsoft.com/office/drawing/2014/main" id="{3A6B342E-CD99-64B9-827C-25B1D3AD8F5F}"/>
              </a:ext>
            </a:extLst>
          </p:cNvPr>
          <p:cNvSpPr/>
          <p:nvPr/>
        </p:nvSpPr>
        <p:spPr bwMode="auto">
          <a:xfrm>
            <a:off x="252000" y="3458144"/>
            <a:ext cx="2288279" cy="927211"/>
          </a:xfrm>
          <a:prstGeom prst="wedgeRoundRectCallout">
            <a:avLst>
              <a:gd name="adj1" fmla="val 33022"/>
              <a:gd name="adj2" fmla="val 70194"/>
              <a:gd name="adj3" fmla="val 16667"/>
            </a:avLst>
          </a:prstGeom>
          <a:solidFill>
            <a:schemeClr val="bg1"/>
          </a:solidFill>
          <a:ln w="38100" cap="flat" cmpd="sng" algn="ctr">
            <a:solidFill>
              <a:schemeClr val="tx2"/>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Im Kasten si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3 mal 4 Flaschen, also insgesamt 12.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3</a:t>
            </a:r>
            <a:r>
              <a:rPr lang="de-DE" sz="1400" kern="0" dirty="0">
                <a:solidFill>
                  <a:prstClr val="black"/>
                </a:solidFill>
                <a:latin typeface="Calibri" panose="020F0502020204030204" pitchFamily="34" charset="0"/>
                <a:ea typeface="ＭＳ Ｐゴシック"/>
                <a:cs typeface="Calibri" panose="020F0502020204030204" pitchFamily="34" charset="0"/>
              </a:rPr>
              <a:t> </a:t>
            </a:r>
            <a:r>
              <a:rPr lang="de-DE" sz="1100" kern="0" dirty="0">
                <a:solidFill>
                  <a:prstClr val="black"/>
                </a:solidFill>
                <a:latin typeface="Calibri" panose="020F0502020204030204" pitchFamily="34" charset="0"/>
                <a:ea typeface="ＭＳ Ｐゴシック"/>
                <a:cs typeface="Calibri" panose="020F0502020204030204" pitchFamily="34" charset="0"/>
              </a:rPr>
              <a:t>• </a:t>
            </a: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4 = 12</a:t>
            </a:r>
          </a:p>
        </p:txBody>
      </p:sp>
      <p:sp>
        <p:nvSpPr>
          <p:cNvPr id="5" name="Abgerundete rechteckige Legende 9">
            <a:extLst>
              <a:ext uri="{FF2B5EF4-FFF2-40B4-BE49-F238E27FC236}">
                <a16:creationId xmlns:a16="http://schemas.microsoft.com/office/drawing/2014/main" id="{998655C7-BB06-8068-8044-5143701235EC}"/>
              </a:ext>
            </a:extLst>
          </p:cNvPr>
          <p:cNvSpPr/>
          <p:nvPr/>
        </p:nvSpPr>
        <p:spPr bwMode="auto">
          <a:xfrm>
            <a:off x="2540279" y="5822789"/>
            <a:ext cx="2288279" cy="927211"/>
          </a:xfrm>
          <a:prstGeom prst="wedgeRoundRectCallout">
            <a:avLst>
              <a:gd name="adj1" fmla="val -31156"/>
              <a:gd name="adj2" fmla="val -69266"/>
              <a:gd name="adj3" fmla="val 16667"/>
            </a:avLst>
          </a:prstGeom>
          <a:solidFill>
            <a:schemeClr val="bg1"/>
          </a:solidFill>
          <a:ln w="38100" cap="flat" cmpd="sng" algn="ctr">
            <a:solidFill>
              <a:schemeClr val="tx2"/>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Im Kasten sin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12 Flaschen in 4 Reihen mit jeweils 3 Flasche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12 : 4 = 3</a:t>
            </a:r>
          </a:p>
        </p:txBody>
      </p:sp>
    </p:spTree>
    <p:extLst>
      <p:ext uri="{BB962C8B-B14F-4D97-AF65-F5344CB8AC3E}">
        <p14:creationId xmlns:p14="http://schemas.microsoft.com/office/powerpoint/2010/main" val="626806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FD513-BBA7-9D37-1948-1F67B0A1A893}"/>
            </a:ext>
          </a:extLst>
        </p:cNvPr>
        <p:cNvGrpSpPr/>
        <p:nvPr/>
      </p:nvGrpSpPr>
      <p:grpSpPr>
        <a:xfrm>
          <a:off x="0" y="0"/>
          <a:ext cx="0" cy="0"/>
          <a:chOff x="0" y="0"/>
          <a:chExt cx="0" cy="0"/>
        </a:xfrm>
      </p:grpSpPr>
      <p:grpSp>
        <p:nvGrpSpPr>
          <p:cNvPr id="14" name="Gruppieren 13">
            <a:extLst>
              <a:ext uri="{FF2B5EF4-FFF2-40B4-BE49-F238E27FC236}">
                <a16:creationId xmlns:a16="http://schemas.microsoft.com/office/drawing/2014/main" id="{D74075D7-D7B7-397A-B3BD-FF7B131C77C6}"/>
              </a:ext>
            </a:extLst>
          </p:cNvPr>
          <p:cNvGrpSpPr/>
          <p:nvPr/>
        </p:nvGrpSpPr>
        <p:grpSpPr>
          <a:xfrm>
            <a:off x="107788" y="274288"/>
            <a:ext cx="8928424" cy="927211"/>
            <a:chOff x="0" y="0"/>
            <a:chExt cx="5818764" cy="733300"/>
          </a:xfrm>
        </p:grpSpPr>
        <p:sp>
          <p:nvSpPr>
            <p:cNvPr id="15" name="Gefaltete Ecke 14">
              <a:extLst>
                <a:ext uri="{FF2B5EF4-FFF2-40B4-BE49-F238E27FC236}">
                  <a16:creationId xmlns:a16="http://schemas.microsoft.com/office/drawing/2014/main" id="{B47BAFEB-EE94-503C-2417-20CDD9AAC7E2}"/>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6" name="Textfeld 1">
              <a:extLst>
                <a:ext uri="{FF2B5EF4-FFF2-40B4-BE49-F238E27FC236}">
                  <a16:creationId xmlns:a16="http://schemas.microsoft.com/office/drawing/2014/main" id="{4A00FA89-8AA5-16AD-67F1-70274D18DB1E}"/>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54B787E4-F788-DCC3-17B1-C972F0602CEB}"/>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Rechteck 2">
            <a:extLst>
              <a:ext uri="{FF2B5EF4-FFF2-40B4-BE49-F238E27FC236}">
                <a16:creationId xmlns:a16="http://schemas.microsoft.com/office/drawing/2014/main" id="{F371CF76-B27C-FA11-127B-169CE10CEBF6}"/>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pic>
        <p:nvPicPr>
          <p:cNvPr id="17" name="Grafik 16">
            <a:extLst>
              <a:ext uri="{FF2B5EF4-FFF2-40B4-BE49-F238E27FC236}">
                <a16:creationId xmlns:a16="http://schemas.microsoft.com/office/drawing/2014/main" id="{E60F8274-FAAF-BAE9-0D72-C0BD5A1B0B10}"/>
              </a:ext>
            </a:extLst>
          </p:cNvPr>
          <p:cNvPicPr>
            <a:picLocks noChangeAspect="1"/>
          </p:cNvPicPr>
          <p:nvPr/>
        </p:nvPicPr>
        <p:blipFill>
          <a:blip r:embed="rId4"/>
          <a:stretch>
            <a:fillRect/>
          </a:stretch>
        </p:blipFill>
        <p:spPr>
          <a:xfrm>
            <a:off x="1640151" y="1487227"/>
            <a:ext cx="5863697" cy="4592925"/>
          </a:xfrm>
          <a:prstGeom prst="rect">
            <a:avLst/>
          </a:prstGeom>
        </p:spPr>
      </p:pic>
      <p:sp>
        <p:nvSpPr>
          <p:cNvPr id="2" name="Textplatzhalter 2">
            <a:extLst>
              <a:ext uri="{FF2B5EF4-FFF2-40B4-BE49-F238E27FC236}">
                <a16:creationId xmlns:a16="http://schemas.microsoft.com/office/drawing/2014/main" id="{DE73C91E-2C8B-E7DE-E27B-DCFFC0E7A19C}"/>
              </a:ext>
            </a:extLst>
          </p:cNvPr>
          <p:cNvSpPr>
            <a:spLocks noGrp="1"/>
          </p:cNvSpPr>
          <p:nvPr>
            <p:ph type="body" sz="quarter" idx="10"/>
          </p:nvPr>
        </p:nvSpPr>
        <p:spPr>
          <a:xfrm>
            <a:off x="108000" y="6642000"/>
            <a:ext cx="8928000" cy="216000"/>
          </a:xfrm>
        </p:spPr>
        <p:txBody>
          <a:bodyPr/>
          <a:lstStyle/>
          <a:p>
            <a:r>
              <a:rPr lang="de-DE" dirty="0"/>
              <a:t>Internetquelle: https://</a:t>
            </a:r>
            <a:r>
              <a:rPr lang="de-DE" dirty="0" err="1"/>
              <a:t>mahiko.dzlm.de</a:t>
            </a:r>
            <a:r>
              <a:rPr lang="de-DE" dirty="0"/>
              <a:t>/</a:t>
            </a:r>
            <a:r>
              <a:rPr lang="de-DE" dirty="0" err="1"/>
              <a:t>node</a:t>
            </a:r>
            <a:r>
              <a:rPr lang="de-DE" dirty="0"/>
              <a:t>/122</a:t>
            </a:r>
          </a:p>
        </p:txBody>
      </p:sp>
      <p:sp>
        <p:nvSpPr>
          <p:cNvPr id="4" name="Abgerundete rechteckige Legende 9">
            <a:extLst>
              <a:ext uri="{FF2B5EF4-FFF2-40B4-BE49-F238E27FC236}">
                <a16:creationId xmlns:a16="http://schemas.microsoft.com/office/drawing/2014/main" id="{BDBA46DA-2D86-379F-1EC3-3AEF9E24C40F}"/>
              </a:ext>
            </a:extLst>
          </p:cNvPr>
          <p:cNvSpPr/>
          <p:nvPr/>
        </p:nvSpPr>
        <p:spPr bwMode="auto">
          <a:xfrm>
            <a:off x="252000" y="3458144"/>
            <a:ext cx="2288279" cy="927211"/>
          </a:xfrm>
          <a:prstGeom prst="wedgeRoundRectCallout">
            <a:avLst>
              <a:gd name="adj1" fmla="val 33426"/>
              <a:gd name="adj2" fmla="val -64286"/>
              <a:gd name="adj3" fmla="val 16667"/>
            </a:avLst>
          </a:prstGeom>
          <a:solidFill>
            <a:schemeClr val="bg1"/>
          </a:solidFill>
          <a:ln w="38100" cap="flat" cmpd="sng" algn="ctr">
            <a:solidFill>
              <a:schemeClr val="tx2"/>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400" kern="0" dirty="0">
                <a:solidFill>
                  <a:prstClr val="black"/>
                </a:solidFill>
                <a:latin typeface="Calibri" panose="020F0502020204030204" pitchFamily="34" charset="0"/>
                <a:ea typeface="ＭＳ Ｐゴシック"/>
                <a:cs typeface="Calibri" panose="020F0502020204030204" pitchFamily="34" charset="0"/>
              </a:rPr>
              <a:t>Im Schrank stehen 2+2+2+2+2+2 Schüsseln, also insgesamt 12.</a:t>
            </a:r>
            <a:endPar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6" name="Abgerundete rechteckige Legende 9">
            <a:extLst>
              <a:ext uri="{FF2B5EF4-FFF2-40B4-BE49-F238E27FC236}">
                <a16:creationId xmlns:a16="http://schemas.microsoft.com/office/drawing/2014/main" id="{B420756A-2F0F-E685-919F-2C7EFA9FB927}"/>
              </a:ext>
            </a:extLst>
          </p:cNvPr>
          <p:cNvSpPr/>
          <p:nvPr/>
        </p:nvSpPr>
        <p:spPr bwMode="auto">
          <a:xfrm>
            <a:off x="3207636" y="1617359"/>
            <a:ext cx="2472728" cy="927211"/>
          </a:xfrm>
          <a:prstGeom prst="wedgeRoundRectCallout">
            <a:avLst>
              <a:gd name="adj1" fmla="val -50127"/>
              <a:gd name="adj2" fmla="val 72186"/>
              <a:gd name="adj3" fmla="val 16667"/>
            </a:avLst>
          </a:prstGeom>
          <a:solidFill>
            <a:schemeClr val="bg1"/>
          </a:solidFill>
          <a:ln w="38100" cap="flat" cmpd="sng" algn="ctr">
            <a:solidFill>
              <a:schemeClr val="tx2"/>
            </a:solidFill>
            <a:prstDash val="solid"/>
            <a:round/>
            <a:headEnd type="none" w="med" len="med"/>
            <a:tailEnd type="none" w="med" len="me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400" kern="0" dirty="0">
                <a:solidFill>
                  <a:prstClr val="black"/>
                </a:solidFill>
                <a:latin typeface="Calibri" panose="020F0502020204030204" pitchFamily="34" charset="0"/>
                <a:ea typeface="ＭＳ Ｐゴシック"/>
                <a:cs typeface="Calibri" panose="020F0502020204030204" pitchFamily="34" charset="0"/>
              </a:rPr>
              <a:t>Im Schrank stehen 6 mal 2 Schüsseln, also insgesamt 12.</a:t>
            </a:r>
            <a:endPar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de-DE" sz="1400" kern="0" dirty="0">
                <a:solidFill>
                  <a:prstClr val="black"/>
                </a:solidFill>
                <a:latin typeface="Calibri" panose="020F0502020204030204" pitchFamily="34" charset="0"/>
                <a:ea typeface="ＭＳ Ｐゴシック"/>
                <a:cs typeface="Calibri" panose="020F0502020204030204" pitchFamily="34" charset="0"/>
              </a:rPr>
              <a:t>6 </a:t>
            </a:r>
            <a:r>
              <a:rPr lang="de-DE" sz="1100" kern="0" dirty="0">
                <a:solidFill>
                  <a:prstClr val="black"/>
                </a:solidFill>
                <a:latin typeface="Calibri" panose="020F0502020204030204" pitchFamily="34" charset="0"/>
                <a:ea typeface="ＭＳ Ｐゴシック"/>
                <a:cs typeface="Calibri" panose="020F0502020204030204" pitchFamily="34" charset="0"/>
              </a:rPr>
              <a:t>• </a:t>
            </a:r>
            <a:r>
              <a:rPr lang="de-DE" sz="1400" kern="0" dirty="0">
                <a:solidFill>
                  <a:prstClr val="black"/>
                </a:solidFill>
                <a:latin typeface="Calibri" panose="020F0502020204030204" pitchFamily="34" charset="0"/>
                <a:ea typeface="ＭＳ Ｐゴシック"/>
                <a:cs typeface="Calibri" panose="020F0502020204030204" pitchFamily="34" charset="0"/>
              </a:rPr>
              <a:t>2</a:t>
            </a:r>
            <a:r>
              <a:rPr kumimoji="0" lang="de-DE" sz="1400" b="0" i="0" u="none" strike="noStrike" kern="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 = 12</a:t>
            </a:r>
          </a:p>
        </p:txBody>
      </p:sp>
    </p:spTree>
    <p:extLst>
      <p:ext uri="{BB962C8B-B14F-4D97-AF65-F5344CB8AC3E}">
        <p14:creationId xmlns:p14="http://schemas.microsoft.com/office/powerpoint/2010/main" val="2992651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a:t>Diese Folie gehört mit zum Material und darf nicht entfernt werden.</a:t>
            </a:r>
          </a:p>
          <a:p>
            <a:pPr marL="285750" indent="-285750"/>
            <a:r>
              <a:rPr lang="de-DE"/>
              <a:t>Dieses Material wurde durch Christoph Selter und sein Team für das </a:t>
            </a:r>
            <a:r>
              <a:rPr lang="de-DE">
                <a:hlinkClick r:id="rId2"/>
              </a:rPr>
              <a:t>Deutsche Zentrum für Lehrerbildung Mathematik (DZLM)</a:t>
            </a:r>
            <a:r>
              <a:rPr lang="de-DE"/>
              <a:t> konzipiert und kann, soweit nicht anderweitig gekennzeichnet, unter der </a:t>
            </a:r>
            <a:r>
              <a:rPr lang="de-DE">
                <a:hlinkClick r:id="rId3"/>
              </a:rPr>
              <a:t>Creative Commons Lizenz BY-SA: Namensnennung – Weitergabe unter gleichen Bedingungen 4.0 International</a:t>
            </a:r>
            <a:r>
              <a:rPr lang="de-DE"/>
              <a:t> weiterverwendet werden.</a:t>
            </a:r>
          </a:p>
          <a:p>
            <a:pPr marL="285750" indent="-285750"/>
            <a:r>
              <a:rPr lang="de-DE"/>
              <a:t>Das bedeutet insbesondere: Alle Folien und Materialien können für Zwecke der Aus- und Fortbildung gerne genutzt werden – unter der Voraussetzung, dass immer die Quellenhinweise aufgeführt bleiben. </a:t>
            </a:r>
          </a:p>
          <a:p>
            <a:pPr marL="285750" indent="-285750"/>
            <a:r>
              <a:rPr lang="de-DE"/>
              <a:t>An der Erstellung des Materials haben mitgewirkt: Johanna Brandt, Stefanie </a:t>
            </a:r>
            <a:r>
              <a:rPr lang="de-DE" err="1"/>
              <a:t>Gatzka</a:t>
            </a:r>
            <a:r>
              <a:rPr lang="de-DE"/>
              <a:t>, Daniela Götze, Raja Herold-Blasius, Sarah Jaworek, Anja Kluge, Katharina </a:t>
            </a:r>
            <a:r>
              <a:rPr lang="de-DE" err="1"/>
              <a:t>Knaudt</a:t>
            </a:r>
            <a:r>
              <a:rPr lang="de-DE"/>
              <a:t>, Stefanie Menne, Christoph Selter, Esther Wensing</a:t>
            </a:r>
          </a:p>
          <a:p>
            <a:pPr marL="285750" indent="-285750"/>
            <a:r>
              <a:rPr lang="de-DE"/>
              <a:t>Dieses Material basiert auf Forschung und Entwicklung aus dem Projekt „</a:t>
            </a:r>
            <a:r>
              <a:rPr lang="de-DE" err="1"/>
              <a:t>SchuMaS</a:t>
            </a:r>
            <a:r>
              <a:rPr lang="de-DE"/>
              <a:t> – Schule macht stark“ (Projektnummer: SMS2101L). Das Modul ist angereichert durch Material aus den Projekten „</a:t>
            </a:r>
            <a:r>
              <a:rPr lang="de-DE" err="1"/>
              <a:t>Pikas</a:t>
            </a:r>
            <a:r>
              <a:rPr lang="de-DE"/>
              <a:t>“, „Kira – Kinder rechnen anders“, „MSK – Mathe sicher können“, „</a:t>
            </a:r>
            <a:r>
              <a:rPr lang="de-DE" err="1"/>
              <a:t>Mahiko</a:t>
            </a:r>
            <a:r>
              <a:rPr lang="de-DE"/>
              <a:t>“, „</a:t>
            </a:r>
            <a:r>
              <a:rPr lang="de-DE" err="1"/>
              <a:t>Faledia</a:t>
            </a:r>
            <a:r>
              <a:rPr lang="de-DE"/>
              <a:t>“ und „</a:t>
            </a:r>
            <a:r>
              <a:rPr lang="de-DE" err="1"/>
              <a:t>FöDiMa</a:t>
            </a:r>
            <a:r>
              <a:rPr lang="de-DE"/>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6"/>
            <a:ext cx="8640000" cy="6110384"/>
          </a:xfrm>
        </p:spPr>
        <p:txBody>
          <a:bodyPr/>
          <a:lstStyle/>
          <a:p>
            <a:r>
              <a:rPr lang="de-DE" dirty="0"/>
              <a:t>Die nächsten Folien dienen dazu:</a:t>
            </a:r>
          </a:p>
          <a:p>
            <a:pPr lvl="1"/>
            <a:r>
              <a:rPr lang="de-DE" dirty="0"/>
              <a:t>die Darstellungsvernetzung als zentralen Aspekt des Operationsverständnisses herauszustellen.</a:t>
            </a:r>
          </a:p>
          <a:p>
            <a:pPr lvl="1"/>
            <a:r>
              <a:rPr lang="de-DE" dirty="0"/>
              <a:t>die vier Darstellungsformen am Beispiel der Aufgaben 3+2 und 6-2 zu veranschaulichen.</a:t>
            </a:r>
          </a:p>
          <a:p>
            <a:pPr lvl="1"/>
            <a:r>
              <a:rPr lang="de-DE" dirty="0"/>
              <a:t>für das Zusammendenken von Addition und Subtraktion zu sensibilisieren: Mithilfe geeigneter Aufgaben erfolgt eine Verknüpfung der beiden Operationen.</a:t>
            </a:r>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einzelne Folien aus und nutzen Sie diese zur Veranschaulichung Ihrer Ausführungen. </a:t>
            </a:r>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201527248"/>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Kernbotschaft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Einordnung der Kernbotschaf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4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Rechteck 4">
            <a:extLst>
              <a:ext uri="{FF2B5EF4-FFF2-40B4-BE49-F238E27FC236}">
                <a16:creationId xmlns:a16="http://schemas.microsoft.com/office/drawing/2014/main" id="{4B6419FE-682D-754C-B2D1-142EBE7E6B5A}"/>
              </a:ext>
            </a:extLst>
          </p:cNvPr>
          <p:cNvSpPr/>
          <p:nvPr/>
        </p:nvSpPr>
        <p:spPr bwMode="auto">
          <a:xfrm>
            <a:off x="0" y="6503940"/>
            <a:ext cx="2947388"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CDB30971-6A56-12E9-B001-B527023944BB}"/>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EB36E9B9-E7D4-A1BD-29CC-BEB7C1FC011F}"/>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2111160E-9C0A-C9AB-A86E-37B75C1B8EDB}"/>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A95268E1-8A23-CFAE-B62A-E9BD82D7FDC0}"/>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Textplatzhalter 3">
            <a:extLst>
              <a:ext uri="{FF2B5EF4-FFF2-40B4-BE49-F238E27FC236}">
                <a16:creationId xmlns:a16="http://schemas.microsoft.com/office/drawing/2014/main" id="{93768706-AEBC-DDC5-7090-0138E805685E}"/>
              </a:ext>
            </a:extLst>
          </p:cNvPr>
          <p:cNvSpPr>
            <a:spLocks noGrp="1"/>
          </p:cNvSpPr>
          <p:nvPr>
            <p:ph type="body" sz="quarter" idx="10"/>
          </p:nvPr>
        </p:nvSpPr>
        <p:spPr>
          <a:xfrm>
            <a:off x="108000" y="6642000"/>
            <a:ext cx="8928000" cy="216000"/>
          </a:xfrm>
        </p:spPr>
        <p:txBody>
          <a:bodyPr/>
          <a:lstStyle/>
          <a:p>
            <a:r>
              <a:rPr lang="de-DE" b="0" i="0" u="none" strike="noStrike" dirty="0">
                <a:solidFill>
                  <a:srgbClr val="222222"/>
                </a:solidFill>
                <a:effectLst/>
                <a:highlight>
                  <a:srgbClr val="FFFFFF"/>
                </a:highlight>
                <a:latin typeface="Open Sans" panose="020B0606030504020204" pitchFamily="34" charset="0"/>
              </a:rPr>
              <a:t>Addition: </a:t>
            </a:r>
            <a:r>
              <a:rPr lang="de-DE" b="0" i="0" u="none" strike="noStrike" dirty="0">
                <a:solidFill>
                  <a:srgbClr val="222222"/>
                </a:solidFill>
                <a:effectLst/>
                <a:highlight>
                  <a:srgbClr val="FFFFFF"/>
                </a:highlight>
                <a:latin typeface="Open Sans" panose="020B0606030504020204" pitchFamily="34" charset="0"/>
                <a:hlinkClick r:id="rId4"/>
              </a:rPr>
              <a:t>https://mahiko.dzlm.de/node/47</a:t>
            </a:r>
            <a:r>
              <a:rPr lang="de-DE" b="0" i="0" u="none" strike="noStrike" dirty="0">
                <a:solidFill>
                  <a:srgbClr val="222222"/>
                </a:solidFill>
                <a:effectLst/>
                <a:highlight>
                  <a:srgbClr val="FFFFFF"/>
                </a:highlight>
                <a:latin typeface="Open Sans" panose="020B0606030504020204" pitchFamily="34" charset="0"/>
              </a:rPr>
              <a:t>; Subtraktion: </a:t>
            </a:r>
            <a:r>
              <a:rPr lang="de-DE" b="0" i="0" u="none" strike="noStrike" dirty="0">
                <a:solidFill>
                  <a:srgbClr val="222222"/>
                </a:solidFill>
                <a:effectLst/>
                <a:highlight>
                  <a:srgbClr val="FFFFFF"/>
                </a:highlight>
                <a:latin typeface="Open Sans" panose="020B0606030504020204" pitchFamily="34" charset="0"/>
                <a:hlinkClick r:id="rId5"/>
              </a:rPr>
              <a:t>https://mahiko.dzlm.de/node/104</a:t>
            </a:r>
            <a:endParaRPr lang="de-DE" b="0" i="0" u="none" strike="noStrike" dirty="0">
              <a:solidFill>
                <a:srgbClr val="222222"/>
              </a:solidFill>
              <a:effectLst/>
              <a:highlight>
                <a:srgbClr val="FFFFFF"/>
              </a:highlight>
              <a:latin typeface="Open Sans" panose="020B0606030504020204" pitchFamily="34" charset="0"/>
            </a:endParaRPr>
          </a:p>
          <a:p>
            <a:endParaRPr lang="de-DE" dirty="0"/>
          </a:p>
        </p:txBody>
      </p:sp>
      <p:sp>
        <p:nvSpPr>
          <p:cNvPr id="5" name="Inhaltsplatzhalter 3">
            <a:extLst>
              <a:ext uri="{FF2B5EF4-FFF2-40B4-BE49-F238E27FC236}">
                <a16:creationId xmlns:a16="http://schemas.microsoft.com/office/drawing/2014/main" id="{D60B5B37-114A-CC76-C703-B2AC6B539C9F}"/>
              </a:ext>
            </a:extLst>
          </p:cNvPr>
          <p:cNvSpPr txBox="1"/>
          <p:nvPr/>
        </p:nvSpPr>
        <p:spPr bwMode="auto">
          <a:xfrm>
            <a:off x="0" y="4912160"/>
            <a:ext cx="9144000" cy="1398808"/>
          </a:xfrm>
          <a:prstGeom prst="rect">
            <a:avLst/>
          </a:prstGeom>
          <a:solidFill>
            <a:schemeClr val="accent6">
              <a:lumMod val="95000"/>
            </a:schemeClr>
          </a:solidFill>
          <a:ln w="0">
            <a:solidFill>
              <a:schemeClr val="bg1">
                <a:lumMod val="95000"/>
              </a:schemeClr>
            </a:solidFill>
            <a:miter lim="800000"/>
          </a:ln>
        </p:spPr>
        <p:txBody>
          <a:bodyPr vert="horz" wrap="square" lIns="144000" tIns="144000" rIns="144000" bIns="144000" rtlCol="0">
            <a:spAutoFit/>
          </a:bodyPr>
          <a:lstStyle>
            <a:lvl1pPr marL="0" indent="-216000" algn="l">
              <a:lnSpc>
                <a:spcPct val="100000"/>
              </a:lnSpc>
              <a:spcBef>
                <a:spcPts val="576"/>
              </a:spcBef>
              <a:spcAft>
                <a:spcPts val="600"/>
              </a:spcAft>
              <a:buClr>
                <a:schemeClr val="tx2"/>
              </a:buClr>
              <a:buSzPct val="85000"/>
              <a:buFont typeface="Wingdings"/>
              <a:buChar char="§"/>
              <a:defRPr sz="1800">
                <a:solidFill>
                  <a:schemeClr val="tx1"/>
                </a:solidFill>
                <a:latin typeface="Calibri"/>
                <a:ea typeface="+mn-ea"/>
                <a:cs typeface="Calibri"/>
              </a:defRPr>
            </a:lvl1pPr>
            <a:lvl2pPr marL="432000" indent="-216000" algn="l">
              <a:lnSpc>
                <a:spcPct val="100000"/>
              </a:lnSpc>
              <a:spcBef>
                <a:spcPts val="0"/>
              </a:spcBef>
              <a:spcAft>
                <a:spcPts val="600"/>
              </a:spcAft>
              <a:buClr>
                <a:schemeClr val="tx2"/>
              </a:buClr>
              <a:buSzPct val="85000"/>
              <a:buFont typeface="Wingdings"/>
              <a:buChar char="§"/>
              <a:defRPr sz="1600">
                <a:solidFill>
                  <a:schemeClr val="tx1"/>
                </a:solidFill>
                <a:latin typeface="Calibri"/>
                <a:ea typeface="+mn-ea"/>
                <a:cs typeface="Calibri"/>
              </a:defRPr>
            </a:lvl2pPr>
            <a:lvl3pPr marL="432000" indent="-216000" algn="l">
              <a:lnSpc>
                <a:spcPct val="100000"/>
              </a:lnSpc>
              <a:spcBef>
                <a:spcPts val="0"/>
              </a:spcBef>
              <a:spcAft>
                <a:spcPts val="600"/>
              </a:spcAft>
              <a:buClr>
                <a:schemeClr val="tx2"/>
              </a:buClr>
              <a:buSzPct val="85000"/>
              <a:buFont typeface="Wingdings"/>
              <a:buChar char="§"/>
              <a:defRPr sz="1600">
                <a:solidFill>
                  <a:schemeClr val="tx1"/>
                </a:solidFill>
                <a:latin typeface="Calibri"/>
                <a:ea typeface="+mn-ea"/>
                <a:cs typeface="Calibri"/>
              </a:defRPr>
            </a:lvl3pPr>
            <a:lvl4pPr marL="432000" indent="-216000" algn="l">
              <a:lnSpc>
                <a:spcPct val="100000"/>
              </a:lnSpc>
              <a:spcBef>
                <a:spcPts val="0"/>
              </a:spcBef>
              <a:spcAft>
                <a:spcPts val="600"/>
              </a:spcAft>
              <a:buClr>
                <a:schemeClr val="tx2"/>
              </a:buClr>
              <a:buSzPct val="85000"/>
              <a:buFont typeface="Wingdings"/>
              <a:buChar char="§"/>
              <a:defRPr sz="1600">
                <a:solidFill>
                  <a:schemeClr val="tx1"/>
                </a:solidFill>
                <a:latin typeface="Calibri"/>
                <a:ea typeface="+mn-ea"/>
                <a:cs typeface="Calibri"/>
              </a:defRPr>
            </a:lvl4pPr>
            <a:lvl5pPr marL="432000" indent="-216000" algn="l">
              <a:lnSpc>
                <a:spcPct val="100000"/>
              </a:lnSpc>
              <a:spcBef>
                <a:spcPts val="0"/>
              </a:spcBef>
              <a:spcAft>
                <a:spcPts val="600"/>
              </a:spcAft>
              <a:buClr>
                <a:schemeClr val="tx2"/>
              </a:buClr>
              <a:buSzPct val="85000"/>
              <a:buFont typeface="Wingdings"/>
              <a:buChar char="§"/>
              <a:defRPr sz="1600">
                <a:solidFill>
                  <a:schemeClr val="tx1"/>
                </a:solidFill>
                <a:latin typeface="Calibri"/>
                <a:ea typeface="+mn-ea"/>
                <a:cs typeface="Calibri"/>
              </a:defRPr>
            </a:lvl5pPr>
            <a:lvl6pPr marL="2514600" indent="-228600" algn="l">
              <a:spcBef>
                <a:spcPts val="0"/>
              </a:spcBef>
              <a:spcAft>
                <a:spcPts val="0"/>
              </a:spcAft>
              <a:buChar char="*"/>
              <a:defRPr sz="1200">
                <a:solidFill>
                  <a:schemeClr val="tx1"/>
                </a:solidFill>
                <a:latin typeface="+mn-lt"/>
                <a:ea typeface="+mn-ea"/>
              </a:defRPr>
            </a:lvl6pPr>
            <a:lvl7pPr marL="2971800" indent="-228600" algn="l">
              <a:spcBef>
                <a:spcPts val="0"/>
              </a:spcBef>
              <a:spcAft>
                <a:spcPts val="0"/>
              </a:spcAft>
              <a:buChar char="*"/>
              <a:defRPr sz="1200">
                <a:solidFill>
                  <a:schemeClr val="tx1"/>
                </a:solidFill>
                <a:latin typeface="+mn-lt"/>
                <a:ea typeface="+mn-ea"/>
              </a:defRPr>
            </a:lvl7pPr>
            <a:lvl8pPr marL="3429000" indent="-228600" algn="l">
              <a:spcBef>
                <a:spcPts val="0"/>
              </a:spcBef>
              <a:spcAft>
                <a:spcPts val="0"/>
              </a:spcAft>
              <a:buChar char="*"/>
              <a:defRPr sz="1200">
                <a:solidFill>
                  <a:schemeClr val="tx1"/>
                </a:solidFill>
                <a:latin typeface="+mn-lt"/>
                <a:ea typeface="+mn-ea"/>
              </a:defRPr>
            </a:lvl8pPr>
            <a:lvl9pPr marL="3886200" indent="-228600" algn="l">
              <a:spcBef>
                <a:spcPts val="0"/>
              </a:spcBef>
              <a:spcAft>
                <a:spcPts val="0"/>
              </a:spcAft>
              <a:buChar char="*"/>
              <a:defRPr sz="1200">
                <a:solidFill>
                  <a:schemeClr val="tx1"/>
                </a:solidFill>
                <a:latin typeface="+mn-lt"/>
                <a:ea typeface="+mn-ea"/>
              </a:defRPr>
            </a:lvl9pPr>
          </a:lstStyle>
          <a:p>
            <a:pPr indent="0">
              <a:spcBef>
                <a:spcPts val="0"/>
              </a:spcBef>
              <a:buNone/>
              <a:defRPr/>
            </a:pPr>
            <a:r>
              <a:rPr lang="de-DE" dirty="0">
                <a:latin typeface="Calibri"/>
                <a:cs typeface="Calibri"/>
              </a:rPr>
              <a:t>„Operationsverständnis zeigt sich in der Fähigkeit, zwischen diesen verschiedenen „Sprachen“ </a:t>
            </a:r>
            <a:r>
              <a:rPr lang="de-DE" dirty="0">
                <a:solidFill>
                  <a:schemeClr val="tx2"/>
                </a:solidFill>
                <a:latin typeface="Calibri"/>
                <a:cs typeface="Calibri"/>
              </a:rPr>
              <a:t>hin- und herübersetzen </a:t>
            </a:r>
            <a:r>
              <a:rPr lang="de-DE" dirty="0">
                <a:latin typeface="Calibri"/>
                <a:cs typeface="Calibri"/>
              </a:rPr>
              <a:t>zu können, also </a:t>
            </a:r>
            <a:r>
              <a:rPr lang="de-DE" b="1" dirty="0">
                <a:latin typeface="Calibri"/>
                <a:cs typeface="Calibri"/>
              </a:rPr>
              <a:t>Verbindungen</a:t>
            </a:r>
            <a:r>
              <a:rPr lang="de-DE" dirty="0">
                <a:latin typeface="Calibri"/>
                <a:cs typeface="Calibri"/>
              </a:rPr>
              <a:t> herstellen zu können zwischen konkreten, häufig in Alltagssprache beschriebenen, (Alltags-) </a:t>
            </a:r>
            <a:r>
              <a:rPr lang="de-DE" dirty="0">
                <a:solidFill>
                  <a:schemeClr val="tx2"/>
                </a:solidFill>
                <a:latin typeface="Calibri"/>
                <a:cs typeface="Calibri"/>
              </a:rPr>
              <a:t>Situationen</a:t>
            </a:r>
            <a:r>
              <a:rPr lang="de-DE" dirty="0">
                <a:latin typeface="Calibri"/>
                <a:cs typeface="Calibri"/>
              </a:rPr>
              <a:t> und mathematischen Symbolen und Rechenoperationen“</a:t>
            </a:r>
            <a:endParaRPr dirty="0"/>
          </a:p>
        </p:txBody>
      </p:sp>
      <p:pic>
        <p:nvPicPr>
          <p:cNvPr id="20" name="Grafik 19">
            <a:extLst>
              <a:ext uri="{FF2B5EF4-FFF2-40B4-BE49-F238E27FC236}">
                <a16:creationId xmlns:a16="http://schemas.microsoft.com/office/drawing/2014/main" id="{8C342D8B-08C3-51E6-DF9A-29137E3E1E81}"/>
              </a:ext>
            </a:extLst>
          </p:cNvPr>
          <p:cNvPicPr>
            <a:picLocks noChangeAspect="1"/>
          </p:cNvPicPr>
          <p:nvPr/>
        </p:nvPicPr>
        <p:blipFill>
          <a:blip r:embed="rId6"/>
          <a:stretch>
            <a:fillRect/>
          </a:stretch>
        </p:blipFill>
        <p:spPr>
          <a:xfrm>
            <a:off x="107788" y="1564979"/>
            <a:ext cx="4490356" cy="2795120"/>
          </a:xfrm>
          <a:prstGeom prst="rect">
            <a:avLst/>
          </a:prstGeom>
        </p:spPr>
      </p:pic>
      <p:pic>
        <p:nvPicPr>
          <p:cNvPr id="21" name="Grafik 20">
            <a:extLst>
              <a:ext uri="{FF2B5EF4-FFF2-40B4-BE49-F238E27FC236}">
                <a16:creationId xmlns:a16="http://schemas.microsoft.com/office/drawing/2014/main" id="{1BAFC715-7D48-107C-628F-235BD2095283}"/>
              </a:ext>
            </a:extLst>
          </p:cNvPr>
          <p:cNvPicPr>
            <a:picLocks noChangeAspect="1"/>
          </p:cNvPicPr>
          <p:nvPr/>
        </p:nvPicPr>
        <p:blipFill>
          <a:blip r:embed="rId7"/>
          <a:stretch>
            <a:fillRect/>
          </a:stretch>
        </p:blipFill>
        <p:spPr>
          <a:xfrm>
            <a:off x="4586815" y="1576793"/>
            <a:ext cx="4422431" cy="2771491"/>
          </a:xfrm>
          <a:prstGeom prst="rect">
            <a:avLst/>
          </a:prstGeom>
        </p:spPr>
      </p:pic>
    </p:spTree>
    <p:extLst>
      <p:ext uri="{BB962C8B-B14F-4D97-AF65-F5344CB8AC3E}">
        <p14:creationId xmlns:p14="http://schemas.microsoft.com/office/powerpoint/2010/main" val="16923470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39FCC8-6408-312D-4559-2D46D75E50BF}"/>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72A06648-1F63-84DC-524C-0C8EC3F9223C}"/>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5B505D9A-6BFB-5ACD-BA9E-00591288F042}"/>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74E0324A-1A76-8DC8-1EDA-E3C3EC1B284F}"/>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41B1D349-ACE0-EB46-3C8A-EADC2C7A661E}"/>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D9B55121-F7C7-5E0A-7A63-BD42EDF266D2}"/>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Textplatzhalter 3">
            <a:extLst>
              <a:ext uri="{FF2B5EF4-FFF2-40B4-BE49-F238E27FC236}">
                <a16:creationId xmlns:a16="http://schemas.microsoft.com/office/drawing/2014/main" id="{81A412E4-7CF2-D916-5595-B9EB3C23B113}"/>
              </a:ext>
            </a:extLst>
          </p:cNvPr>
          <p:cNvSpPr>
            <a:spLocks noGrp="1"/>
          </p:cNvSpPr>
          <p:nvPr>
            <p:ph type="body" sz="quarter" idx="10"/>
          </p:nvPr>
        </p:nvSpPr>
        <p:spPr>
          <a:xfrm>
            <a:off x="108000" y="6583712"/>
            <a:ext cx="8928212" cy="274288"/>
          </a:xfrm>
        </p:spPr>
        <p:txBody>
          <a:bodyPr/>
          <a:lstStyle/>
          <a:p>
            <a:r>
              <a:rPr lang="de-DE" b="0" i="0" u="none" strike="noStrike" dirty="0">
                <a:solidFill>
                  <a:srgbClr val="222222"/>
                </a:solidFill>
                <a:effectLst/>
                <a:highlight>
                  <a:srgbClr val="FFFFFF"/>
                </a:highlight>
                <a:latin typeface="Open Sans" panose="020B0606030504020204" pitchFamily="34" charset="0"/>
              </a:rPr>
              <a:t>Addition: </a:t>
            </a:r>
            <a:r>
              <a:rPr lang="de-DE" b="0" i="0" u="none" strike="noStrike" dirty="0">
                <a:solidFill>
                  <a:srgbClr val="222222"/>
                </a:solidFill>
                <a:effectLst/>
                <a:highlight>
                  <a:srgbClr val="FFFFFF"/>
                </a:highlight>
                <a:latin typeface="Open Sans" panose="020B0606030504020204" pitchFamily="34" charset="0"/>
                <a:hlinkClick r:id="rId4"/>
              </a:rPr>
              <a:t>https://mahiko.dzlm.de/node/47</a:t>
            </a:r>
            <a:endParaRPr lang="de-DE" dirty="0"/>
          </a:p>
        </p:txBody>
      </p:sp>
      <p:pic>
        <p:nvPicPr>
          <p:cNvPr id="23" name="Grafik 22">
            <a:extLst>
              <a:ext uri="{FF2B5EF4-FFF2-40B4-BE49-F238E27FC236}">
                <a16:creationId xmlns:a16="http://schemas.microsoft.com/office/drawing/2014/main" id="{6C43AC85-1771-119B-6BDF-364CFA03B249}"/>
              </a:ext>
            </a:extLst>
          </p:cNvPr>
          <p:cNvPicPr>
            <a:picLocks noChangeAspect="1"/>
          </p:cNvPicPr>
          <p:nvPr/>
        </p:nvPicPr>
        <p:blipFill>
          <a:blip r:embed="rId5"/>
          <a:stretch>
            <a:fillRect/>
          </a:stretch>
        </p:blipFill>
        <p:spPr>
          <a:xfrm>
            <a:off x="584112" y="1402793"/>
            <a:ext cx="7827097" cy="4872148"/>
          </a:xfrm>
          <a:prstGeom prst="rect">
            <a:avLst/>
          </a:prstGeom>
        </p:spPr>
      </p:pic>
      <p:grpSp>
        <p:nvGrpSpPr>
          <p:cNvPr id="28" name="Gruppieren 27">
            <a:extLst>
              <a:ext uri="{FF2B5EF4-FFF2-40B4-BE49-F238E27FC236}">
                <a16:creationId xmlns:a16="http://schemas.microsoft.com/office/drawing/2014/main" id="{617D8D3C-88FE-7871-75D7-89DC9DE4C639}"/>
              </a:ext>
            </a:extLst>
          </p:cNvPr>
          <p:cNvGrpSpPr>
            <a:grpSpLocks noChangeAspect="1"/>
          </p:cNvGrpSpPr>
          <p:nvPr/>
        </p:nvGrpSpPr>
        <p:grpSpPr>
          <a:xfrm>
            <a:off x="6615950" y="1336885"/>
            <a:ext cx="2478688" cy="1859829"/>
            <a:chOff x="5681807" y="3971726"/>
            <a:chExt cx="2421273" cy="1816748"/>
          </a:xfrm>
        </p:grpSpPr>
        <p:sp>
          <p:nvSpPr>
            <p:cNvPr id="29" name="Dreieck 16">
              <a:extLst>
                <a:ext uri="{FF2B5EF4-FFF2-40B4-BE49-F238E27FC236}">
                  <a16:creationId xmlns:a16="http://schemas.microsoft.com/office/drawing/2014/main" id="{D6DF8616-BBAC-DBEA-441E-B5B2F57D7BEA}"/>
                </a:ext>
              </a:extLst>
            </p:cNvPr>
            <p:cNvSpPr/>
            <p:nvPr/>
          </p:nvSpPr>
          <p:spPr>
            <a:xfrm rot="10800000">
              <a:off x="6301090" y="4482017"/>
              <a:ext cx="1185560" cy="969901"/>
            </a:xfrm>
            <a:prstGeom prst="triangle">
              <a:avLst/>
            </a:prstGeom>
            <a:noFill/>
            <a:ln w="69850" cap="flat" cmpd="sng" algn="ctr">
              <a:solidFill>
                <a:srgbClr val="327D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0" name="Gruppieren 29">
              <a:extLst>
                <a:ext uri="{FF2B5EF4-FFF2-40B4-BE49-F238E27FC236}">
                  <a16:creationId xmlns:a16="http://schemas.microsoft.com/office/drawing/2014/main" id="{4B6960AF-FBD3-AD64-E531-41FA71B4AA13}"/>
                </a:ext>
              </a:extLst>
            </p:cNvPr>
            <p:cNvGrpSpPr/>
            <p:nvPr/>
          </p:nvGrpSpPr>
          <p:grpSpPr>
            <a:xfrm>
              <a:off x="6394618" y="4816474"/>
              <a:ext cx="1019300" cy="972000"/>
              <a:chOff x="6394618" y="4858998"/>
              <a:chExt cx="1019300" cy="972000"/>
            </a:xfrm>
          </p:grpSpPr>
          <p:sp>
            <p:nvSpPr>
              <p:cNvPr id="37" name="Oval 24">
                <a:extLst>
                  <a:ext uri="{FF2B5EF4-FFF2-40B4-BE49-F238E27FC236}">
                    <a16:creationId xmlns:a16="http://schemas.microsoft.com/office/drawing/2014/main" id="{9DE60F57-494C-BDB3-C296-8A4F0B65D66D}"/>
                  </a:ext>
                </a:extLst>
              </p:cNvPr>
              <p:cNvSpPr/>
              <p:nvPr/>
            </p:nvSpPr>
            <p:spPr>
              <a:xfrm>
                <a:off x="6407869" y="4858998"/>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Textfeld 37">
                <a:extLst>
                  <a:ext uri="{FF2B5EF4-FFF2-40B4-BE49-F238E27FC236}">
                    <a16:creationId xmlns:a16="http://schemas.microsoft.com/office/drawing/2014/main" id="{F64AA274-2742-8B38-F9BE-1E621DF20EEE}"/>
                  </a:ext>
                </a:extLst>
              </p:cNvPr>
              <p:cNvSpPr txBox="1"/>
              <p:nvPr/>
            </p:nvSpPr>
            <p:spPr>
              <a:xfrm>
                <a:off x="6394618" y="5088976"/>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mn-lt"/>
                    <a:ea typeface="+mn-ea"/>
                    <a:cs typeface="Arial" panose="020B0604020202020204" pitchFamily="34" charset="0"/>
                  </a:rPr>
                  <a:t>Beziehungen</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mn-lt"/>
                    <a:ea typeface="+mn-ea"/>
                    <a:cs typeface="Arial" panose="020B0604020202020204" pitchFamily="34" charset="0"/>
                  </a:rPr>
                  <a:t>nutzen</a:t>
                </a:r>
              </a:p>
            </p:txBody>
          </p:sp>
        </p:grpSp>
        <p:grpSp>
          <p:nvGrpSpPr>
            <p:cNvPr id="31" name="Gruppieren 30">
              <a:extLst>
                <a:ext uri="{FF2B5EF4-FFF2-40B4-BE49-F238E27FC236}">
                  <a16:creationId xmlns:a16="http://schemas.microsoft.com/office/drawing/2014/main" id="{070EC89B-1120-977D-8A86-9F8C96D43C08}"/>
                </a:ext>
              </a:extLst>
            </p:cNvPr>
            <p:cNvGrpSpPr/>
            <p:nvPr/>
          </p:nvGrpSpPr>
          <p:grpSpPr>
            <a:xfrm>
              <a:off x="7083780" y="3971726"/>
              <a:ext cx="1019300" cy="972000"/>
              <a:chOff x="7134758" y="4079545"/>
              <a:chExt cx="1019300" cy="972000"/>
            </a:xfrm>
          </p:grpSpPr>
          <p:sp>
            <p:nvSpPr>
              <p:cNvPr id="35" name="Oval 22">
                <a:extLst>
                  <a:ext uri="{FF2B5EF4-FFF2-40B4-BE49-F238E27FC236}">
                    <a16:creationId xmlns:a16="http://schemas.microsoft.com/office/drawing/2014/main" id="{4387887C-1D6B-D1EC-FB3B-7C7D6882C11A}"/>
                  </a:ext>
                </a:extLst>
              </p:cNvPr>
              <p:cNvSpPr/>
              <p:nvPr/>
            </p:nvSpPr>
            <p:spPr>
              <a:xfrm>
                <a:off x="7158408" y="4079545"/>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6" name="Textfeld 35">
                <a:extLst>
                  <a:ext uri="{FF2B5EF4-FFF2-40B4-BE49-F238E27FC236}">
                    <a16:creationId xmlns:a16="http://schemas.microsoft.com/office/drawing/2014/main" id="{C761E9BE-E50D-BCA1-9596-62A461295833}"/>
                  </a:ext>
                </a:extLst>
              </p:cNvPr>
              <p:cNvSpPr txBox="1"/>
              <p:nvPr/>
            </p:nvSpPr>
            <p:spPr>
              <a:xfrm>
                <a:off x="7134758" y="4407205"/>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Darstellungen vernetzen</a:t>
                </a:r>
              </a:p>
            </p:txBody>
          </p:sp>
        </p:grpSp>
        <p:grpSp>
          <p:nvGrpSpPr>
            <p:cNvPr id="32" name="Gruppieren 31">
              <a:extLst>
                <a:ext uri="{FF2B5EF4-FFF2-40B4-BE49-F238E27FC236}">
                  <a16:creationId xmlns:a16="http://schemas.microsoft.com/office/drawing/2014/main" id="{38F0E656-AAF0-173B-7203-CF575E47E51B}"/>
                </a:ext>
              </a:extLst>
            </p:cNvPr>
            <p:cNvGrpSpPr/>
            <p:nvPr/>
          </p:nvGrpSpPr>
          <p:grpSpPr>
            <a:xfrm>
              <a:off x="5681807" y="3987586"/>
              <a:ext cx="1019300" cy="972000"/>
              <a:chOff x="5633682" y="4096616"/>
              <a:chExt cx="1019300" cy="972000"/>
            </a:xfrm>
          </p:grpSpPr>
          <p:sp>
            <p:nvSpPr>
              <p:cNvPr id="33" name="Oval 20">
                <a:extLst>
                  <a:ext uri="{FF2B5EF4-FFF2-40B4-BE49-F238E27FC236}">
                    <a16:creationId xmlns:a16="http://schemas.microsoft.com/office/drawing/2014/main" id="{E50E2875-DDD8-A1DA-6F4D-6FDC2D91A8F4}"/>
                  </a:ext>
                </a:extLst>
              </p:cNvPr>
              <p:cNvSpPr/>
              <p:nvPr/>
            </p:nvSpPr>
            <p:spPr>
              <a:xfrm>
                <a:off x="5657331" y="4096616"/>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4" name="Textfeld 33">
                <a:extLst>
                  <a:ext uri="{FF2B5EF4-FFF2-40B4-BE49-F238E27FC236}">
                    <a16:creationId xmlns:a16="http://schemas.microsoft.com/office/drawing/2014/main" id="{2C26EDC3-A79F-8B7F-39D1-069ED0F8EB0F}"/>
                  </a:ext>
                </a:extLst>
              </p:cNvPr>
              <p:cNvSpPr txBox="1"/>
              <p:nvPr/>
            </p:nvSpPr>
            <p:spPr>
              <a:xfrm>
                <a:off x="5633682" y="4331610"/>
                <a:ext cx="1019300" cy="58626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Grund-vorstellungen besitzen</a:t>
                </a:r>
              </a:p>
            </p:txBody>
          </p:sp>
        </p:grpSp>
      </p:grpSp>
    </p:spTree>
    <p:extLst>
      <p:ext uri="{BB962C8B-B14F-4D97-AF65-F5344CB8AC3E}">
        <p14:creationId xmlns:p14="http://schemas.microsoft.com/office/powerpoint/2010/main" val="31918881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F316B-4F2E-25C7-54BA-EFA3D653FEB2}"/>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B36B11B2-2AA1-1B8F-0ED6-847D9B7286E9}"/>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F5F873DF-FED1-6655-02A3-AC26150FEF86}"/>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B29F0E38-B3A2-FEE2-B86C-089165760137}"/>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7946FF99-666C-C482-F411-80D36D816A81}"/>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D1F57EB3-58EF-0497-8F81-7B4A2BA748ED}"/>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3" name="Textplatzhalter 3">
            <a:extLst>
              <a:ext uri="{FF2B5EF4-FFF2-40B4-BE49-F238E27FC236}">
                <a16:creationId xmlns:a16="http://schemas.microsoft.com/office/drawing/2014/main" id="{81E17483-BF99-7FAD-1966-64C2029E6BC8}"/>
              </a:ext>
            </a:extLst>
          </p:cNvPr>
          <p:cNvSpPr>
            <a:spLocks noGrp="1"/>
          </p:cNvSpPr>
          <p:nvPr>
            <p:ph type="body" sz="quarter" idx="10"/>
          </p:nvPr>
        </p:nvSpPr>
        <p:spPr>
          <a:xfrm>
            <a:off x="108000" y="6642000"/>
            <a:ext cx="8928000" cy="216000"/>
          </a:xfrm>
        </p:spPr>
        <p:txBody>
          <a:bodyPr/>
          <a:lstStyle/>
          <a:p>
            <a:r>
              <a:rPr lang="de-DE" b="0" i="0" u="none" strike="noStrike" dirty="0">
                <a:solidFill>
                  <a:srgbClr val="222222"/>
                </a:solidFill>
                <a:effectLst/>
                <a:highlight>
                  <a:srgbClr val="FFFFFF"/>
                </a:highlight>
                <a:latin typeface="Open Sans" panose="020B0606030504020204" pitchFamily="34" charset="0"/>
              </a:rPr>
              <a:t>Subtraktion: </a:t>
            </a:r>
            <a:r>
              <a:rPr lang="de-DE" b="0" i="0" u="none" strike="noStrike" dirty="0">
                <a:solidFill>
                  <a:srgbClr val="222222"/>
                </a:solidFill>
                <a:effectLst/>
                <a:highlight>
                  <a:srgbClr val="FFFFFF"/>
                </a:highlight>
                <a:latin typeface="Open Sans" panose="020B0606030504020204" pitchFamily="34" charset="0"/>
                <a:hlinkClick r:id="rId4"/>
              </a:rPr>
              <a:t>https://mahiko.dzlm.de/node/104</a:t>
            </a:r>
            <a:endParaRPr lang="de-DE" b="0" i="0" u="none" strike="noStrike" dirty="0">
              <a:solidFill>
                <a:srgbClr val="222222"/>
              </a:solidFill>
              <a:effectLst/>
              <a:highlight>
                <a:srgbClr val="FFFFFF"/>
              </a:highlight>
              <a:latin typeface="Open Sans" panose="020B0606030504020204" pitchFamily="34" charset="0"/>
            </a:endParaRPr>
          </a:p>
          <a:p>
            <a:endParaRPr lang="de-DE" dirty="0"/>
          </a:p>
        </p:txBody>
      </p:sp>
      <p:pic>
        <p:nvPicPr>
          <p:cNvPr id="23" name="Grafik 22">
            <a:extLst>
              <a:ext uri="{FF2B5EF4-FFF2-40B4-BE49-F238E27FC236}">
                <a16:creationId xmlns:a16="http://schemas.microsoft.com/office/drawing/2014/main" id="{581F58E3-EBB1-3C0F-16AC-4239A21CB41B}"/>
              </a:ext>
            </a:extLst>
          </p:cNvPr>
          <p:cNvPicPr>
            <a:picLocks noChangeAspect="1"/>
          </p:cNvPicPr>
          <p:nvPr/>
        </p:nvPicPr>
        <p:blipFill>
          <a:blip r:embed="rId5"/>
          <a:srcRect/>
          <a:stretch/>
        </p:blipFill>
        <p:spPr>
          <a:xfrm>
            <a:off x="610448" y="1402793"/>
            <a:ext cx="7774424" cy="4872148"/>
          </a:xfrm>
          <a:prstGeom prst="rect">
            <a:avLst/>
          </a:prstGeom>
        </p:spPr>
      </p:pic>
      <p:grpSp>
        <p:nvGrpSpPr>
          <p:cNvPr id="2" name="Gruppieren 1">
            <a:extLst>
              <a:ext uri="{FF2B5EF4-FFF2-40B4-BE49-F238E27FC236}">
                <a16:creationId xmlns:a16="http://schemas.microsoft.com/office/drawing/2014/main" id="{7AAC747A-9FED-02CB-29FA-730C58DAD210}"/>
              </a:ext>
            </a:extLst>
          </p:cNvPr>
          <p:cNvGrpSpPr>
            <a:grpSpLocks noChangeAspect="1"/>
          </p:cNvGrpSpPr>
          <p:nvPr/>
        </p:nvGrpSpPr>
        <p:grpSpPr>
          <a:xfrm>
            <a:off x="6615950" y="1336885"/>
            <a:ext cx="2478688" cy="1859829"/>
            <a:chOff x="5681807" y="3971726"/>
            <a:chExt cx="2421273" cy="1816748"/>
          </a:xfrm>
        </p:grpSpPr>
        <p:sp>
          <p:nvSpPr>
            <p:cNvPr id="4" name="Dreieck 16">
              <a:extLst>
                <a:ext uri="{FF2B5EF4-FFF2-40B4-BE49-F238E27FC236}">
                  <a16:creationId xmlns:a16="http://schemas.microsoft.com/office/drawing/2014/main" id="{EDF23E54-4531-A80F-869A-0EA3123DDE9F}"/>
                </a:ext>
              </a:extLst>
            </p:cNvPr>
            <p:cNvSpPr/>
            <p:nvPr/>
          </p:nvSpPr>
          <p:spPr>
            <a:xfrm rot="10800000">
              <a:off x="6301090" y="4482017"/>
              <a:ext cx="1185560" cy="969901"/>
            </a:xfrm>
            <a:prstGeom prst="triangle">
              <a:avLst/>
            </a:prstGeom>
            <a:noFill/>
            <a:ln w="69850" cap="flat" cmpd="sng" algn="ctr">
              <a:solidFill>
                <a:srgbClr val="327D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5" name="Gruppieren 4">
              <a:extLst>
                <a:ext uri="{FF2B5EF4-FFF2-40B4-BE49-F238E27FC236}">
                  <a16:creationId xmlns:a16="http://schemas.microsoft.com/office/drawing/2014/main" id="{648B517A-117E-3E81-F9FE-B51BF979F809}"/>
                </a:ext>
              </a:extLst>
            </p:cNvPr>
            <p:cNvGrpSpPr/>
            <p:nvPr/>
          </p:nvGrpSpPr>
          <p:grpSpPr>
            <a:xfrm>
              <a:off x="6394618" y="4816474"/>
              <a:ext cx="1019300" cy="972000"/>
              <a:chOff x="6394618" y="4858998"/>
              <a:chExt cx="1019300" cy="972000"/>
            </a:xfrm>
          </p:grpSpPr>
          <p:sp>
            <p:nvSpPr>
              <p:cNvPr id="17" name="Oval 24">
                <a:extLst>
                  <a:ext uri="{FF2B5EF4-FFF2-40B4-BE49-F238E27FC236}">
                    <a16:creationId xmlns:a16="http://schemas.microsoft.com/office/drawing/2014/main" id="{26083B72-A6BF-7606-A8E8-BC7DE59F41CB}"/>
                  </a:ext>
                </a:extLst>
              </p:cNvPr>
              <p:cNvSpPr/>
              <p:nvPr/>
            </p:nvSpPr>
            <p:spPr>
              <a:xfrm>
                <a:off x="6407869" y="4858998"/>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Textfeld 17">
                <a:extLst>
                  <a:ext uri="{FF2B5EF4-FFF2-40B4-BE49-F238E27FC236}">
                    <a16:creationId xmlns:a16="http://schemas.microsoft.com/office/drawing/2014/main" id="{50A999EA-84D9-A8D9-ED48-FBD8BD9C97B9}"/>
                  </a:ext>
                </a:extLst>
              </p:cNvPr>
              <p:cNvSpPr txBox="1"/>
              <p:nvPr/>
            </p:nvSpPr>
            <p:spPr>
              <a:xfrm>
                <a:off x="6394618" y="5088976"/>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mn-lt"/>
                    <a:ea typeface="+mn-ea"/>
                    <a:cs typeface="Arial" panose="020B0604020202020204" pitchFamily="34" charset="0"/>
                  </a:rPr>
                  <a:t>Beziehungen</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solidFill>
                    <a:effectLst/>
                    <a:uLnTx/>
                    <a:uFillTx/>
                    <a:latin typeface="+mn-lt"/>
                    <a:ea typeface="+mn-ea"/>
                    <a:cs typeface="Arial" panose="020B0604020202020204" pitchFamily="34" charset="0"/>
                  </a:rPr>
                  <a:t>nutzen</a:t>
                </a:r>
              </a:p>
            </p:txBody>
          </p:sp>
        </p:grpSp>
        <p:grpSp>
          <p:nvGrpSpPr>
            <p:cNvPr id="6" name="Gruppieren 5">
              <a:extLst>
                <a:ext uri="{FF2B5EF4-FFF2-40B4-BE49-F238E27FC236}">
                  <a16:creationId xmlns:a16="http://schemas.microsoft.com/office/drawing/2014/main" id="{462A64CB-5A0D-BE4F-02D5-93B1DDE1DA92}"/>
                </a:ext>
              </a:extLst>
            </p:cNvPr>
            <p:cNvGrpSpPr/>
            <p:nvPr/>
          </p:nvGrpSpPr>
          <p:grpSpPr>
            <a:xfrm>
              <a:off x="7083780" y="3971726"/>
              <a:ext cx="1019300" cy="972000"/>
              <a:chOff x="7134758" y="4079545"/>
              <a:chExt cx="1019300" cy="972000"/>
            </a:xfrm>
          </p:grpSpPr>
          <p:sp>
            <p:nvSpPr>
              <p:cNvPr id="15" name="Oval 22">
                <a:extLst>
                  <a:ext uri="{FF2B5EF4-FFF2-40B4-BE49-F238E27FC236}">
                    <a16:creationId xmlns:a16="http://schemas.microsoft.com/office/drawing/2014/main" id="{60B88669-0D64-67A9-3424-CD3E675506BF}"/>
                  </a:ext>
                </a:extLst>
              </p:cNvPr>
              <p:cNvSpPr/>
              <p:nvPr/>
            </p:nvSpPr>
            <p:spPr>
              <a:xfrm>
                <a:off x="7158408" y="4079545"/>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6" name="Textfeld 15">
                <a:extLst>
                  <a:ext uri="{FF2B5EF4-FFF2-40B4-BE49-F238E27FC236}">
                    <a16:creationId xmlns:a16="http://schemas.microsoft.com/office/drawing/2014/main" id="{F0A89363-B231-6E3E-198D-9BE0F7151DA5}"/>
                  </a:ext>
                </a:extLst>
              </p:cNvPr>
              <p:cNvSpPr txBox="1"/>
              <p:nvPr/>
            </p:nvSpPr>
            <p:spPr>
              <a:xfrm>
                <a:off x="7134758" y="4407205"/>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Darstellungen vernetzen</a:t>
                </a:r>
              </a:p>
            </p:txBody>
          </p:sp>
        </p:grpSp>
        <p:grpSp>
          <p:nvGrpSpPr>
            <p:cNvPr id="11" name="Gruppieren 10">
              <a:extLst>
                <a:ext uri="{FF2B5EF4-FFF2-40B4-BE49-F238E27FC236}">
                  <a16:creationId xmlns:a16="http://schemas.microsoft.com/office/drawing/2014/main" id="{BCF0CAA8-4C68-BCC3-EE97-474FDBCD1149}"/>
                </a:ext>
              </a:extLst>
            </p:cNvPr>
            <p:cNvGrpSpPr/>
            <p:nvPr/>
          </p:nvGrpSpPr>
          <p:grpSpPr>
            <a:xfrm>
              <a:off x="5681807" y="3987586"/>
              <a:ext cx="1019300" cy="972000"/>
              <a:chOff x="5633682" y="4096616"/>
              <a:chExt cx="1019300" cy="972000"/>
            </a:xfrm>
          </p:grpSpPr>
          <p:sp>
            <p:nvSpPr>
              <p:cNvPr id="13" name="Oval 20">
                <a:extLst>
                  <a:ext uri="{FF2B5EF4-FFF2-40B4-BE49-F238E27FC236}">
                    <a16:creationId xmlns:a16="http://schemas.microsoft.com/office/drawing/2014/main" id="{04B7C296-C10D-D3D1-0C9F-C57DC47089D0}"/>
                  </a:ext>
                </a:extLst>
              </p:cNvPr>
              <p:cNvSpPr/>
              <p:nvPr/>
            </p:nvSpPr>
            <p:spPr>
              <a:xfrm>
                <a:off x="5657331" y="4096616"/>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feld 13">
                <a:extLst>
                  <a:ext uri="{FF2B5EF4-FFF2-40B4-BE49-F238E27FC236}">
                    <a16:creationId xmlns:a16="http://schemas.microsoft.com/office/drawing/2014/main" id="{74FB798C-5968-6140-6D89-2C24CCDB8075}"/>
                  </a:ext>
                </a:extLst>
              </p:cNvPr>
              <p:cNvSpPr txBox="1"/>
              <p:nvPr/>
            </p:nvSpPr>
            <p:spPr>
              <a:xfrm>
                <a:off x="5633682" y="4331610"/>
                <a:ext cx="1019300" cy="58626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Grund-vorstellungen besitzen</a:t>
                </a:r>
              </a:p>
            </p:txBody>
          </p:sp>
        </p:grpSp>
      </p:grpSp>
    </p:spTree>
    <p:extLst>
      <p:ext uri="{BB962C8B-B14F-4D97-AF65-F5344CB8AC3E}">
        <p14:creationId xmlns:p14="http://schemas.microsoft.com/office/powerpoint/2010/main" val="3741700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32CFE-76D5-92C6-1391-78CD7CF4F999}"/>
            </a:ext>
          </a:extLst>
        </p:cNvPr>
        <p:cNvGrpSpPr/>
        <p:nvPr/>
      </p:nvGrpSpPr>
      <p:grpSpPr>
        <a:xfrm>
          <a:off x="0" y="0"/>
          <a:ext cx="0" cy="0"/>
          <a:chOff x="0" y="0"/>
          <a:chExt cx="0" cy="0"/>
        </a:xfrm>
      </p:grpSpPr>
      <p:sp>
        <p:nvSpPr>
          <p:cNvPr id="7" name="Rechteck 6">
            <a:extLst>
              <a:ext uri="{FF2B5EF4-FFF2-40B4-BE49-F238E27FC236}">
                <a16:creationId xmlns:a16="http://schemas.microsoft.com/office/drawing/2014/main" id="{6679EE01-8112-B7F3-60F1-3608F27297D8}"/>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8" name="Gruppieren 7">
            <a:extLst>
              <a:ext uri="{FF2B5EF4-FFF2-40B4-BE49-F238E27FC236}">
                <a16:creationId xmlns:a16="http://schemas.microsoft.com/office/drawing/2014/main" id="{335B7FCC-95B8-6369-739E-5FFCA3DD5950}"/>
              </a:ext>
            </a:extLst>
          </p:cNvPr>
          <p:cNvGrpSpPr/>
          <p:nvPr/>
        </p:nvGrpSpPr>
        <p:grpSpPr>
          <a:xfrm>
            <a:off x="107788" y="274288"/>
            <a:ext cx="8928424" cy="927211"/>
            <a:chOff x="0" y="0"/>
            <a:chExt cx="5818764" cy="733300"/>
          </a:xfrm>
        </p:grpSpPr>
        <p:sp>
          <p:nvSpPr>
            <p:cNvPr id="9" name="Gefaltete Ecke 8">
              <a:extLst>
                <a:ext uri="{FF2B5EF4-FFF2-40B4-BE49-F238E27FC236}">
                  <a16:creationId xmlns:a16="http://schemas.microsoft.com/office/drawing/2014/main" id="{76B17DC4-85C3-5628-39A7-64E0497FE7DC}"/>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0" name="Textfeld 1">
              <a:extLst>
                <a:ext uri="{FF2B5EF4-FFF2-40B4-BE49-F238E27FC236}">
                  <a16:creationId xmlns:a16="http://schemas.microsoft.com/office/drawing/2014/main" id="{A1C6D39A-19C7-8342-217A-FE1A36704F87}"/>
                </a:ext>
              </a:extLst>
            </p:cNvPr>
            <p:cNvSpPr txBox="1"/>
            <p:nvPr/>
          </p:nvSpPr>
          <p:spPr>
            <a:xfrm>
              <a:off x="608884" y="73312"/>
              <a:ext cx="5111998"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hangingPunct="0">
                <a:lnSpc>
                  <a:spcPct val="115000"/>
                </a:lnSpc>
              </a:pPr>
              <a:r>
                <a:rPr lang="de-DE" sz="1800" kern="1200" cap="small"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8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de-DE" sz="1800" kern="1200" dirty="0">
                  <a:solidFill>
                    <a:srgbClr val="000000"/>
                  </a:solidFill>
                  <a:effectLst/>
                  <a:latin typeface="Calibri" panose="020F0502020204030204" pitchFamily="34" charset="0"/>
                  <a:ea typeface="Calibri" panose="020F0502020204030204" pitchFamily="34" charset="0"/>
                </a:rPr>
                <a:t>Kernbotschaft: Ich fördere eine alltags- und materialbezogene Vorstellung der Addition und Subtraktion und spreche diese kontinuierlich an.</a:t>
              </a:r>
            </a:p>
            <a:p>
              <a:r>
                <a:rPr lang="de-DE" sz="1200" dirty="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2" name="Picture 3">
            <a:extLst>
              <a:ext uri="{FF2B5EF4-FFF2-40B4-BE49-F238E27FC236}">
                <a16:creationId xmlns:a16="http://schemas.microsoft.com/office/drawing/2014/main" id="{807AE347-4433-21DF-0F1F-27251D6554F1}"/>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grpSp>
        <p:nvGrpSpPr>
          <p:cNvPr id="2" name="Gruppieren 1">
            <a:extLst>
              <a:ext uri="{FF2B5EF4-FFF2-40B4-BE49-F238E27FC236}">
                <a16:creationId xmlns:a16="http://schemas.microsoft.com/office/drawing/2014/main" id="{4A283267-65E1-A049-8F44-24484C9D6883}"/>
              </a:ext>
            </a:extLst>
          </p:cNvPr>
          <p:cNvGrpSpPr>
            <a:grpSpLocks noChangeAspect="1"/>
          </p:cNvGrpSpPr>
          <p:nvPr/>
        </p:nvGrpSpPr>
        <p:grpSpPr>
          <a:xfrm>
            <a:off x="6615950" y="1336885"/>
            <a:ext cx="2478688" cy="1859829"/>
            <a:chOff x="5681807" y="3971726"/>
            <a:chExt cx="2421273" cy="1816748"/>
          </a:xfrm>
        </p:grpSpPr>
        <p:sp>
          <p:nvSpPr>
            <p:cNvPr id="4" name="Dreieck 16">
              <a:extLst>
                <a:ext uri="{FF2B5EF4-FFF2-40B4-BE49-F238E27FC236}">
                  <a16:creationId xmlns:a16="http://schemas.microsoft.com/office/drawing/2014/main" id="{F20B4B35-00E1-00A0-E42D-3724E936DC9E}"/>
                </a:ext>
              </a:extLst>
            </p:cNvPr>
            <p:cNvSpPr/>
            <p:nvPr/>
          </p:nvSpPr>
          <p:spPr>
            <a:xfrm rot="10800000">
              <a:off x="6301090" y="4482017"/>
              <a:ext cx="1185560" cy="969901"/>
            </a:xfrm>
            <a:prstGeom prst="triangle">
              <a:avLst/>
            </a:prstGeom>
            <a:noFill/>
            <a:ln w="69850" cap="flat" cmpd="sng" algn="ctr">
              <a:solidFill>
                <a:srgbClr val="327D87"/>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5" name="Gruppieren 4">
              <a:extLst>
                <a:ext uri="{FF2B5EF4-FFF2-40B4-BE49-F238E27FC236}">
                  <a16:creationId xmlns:a16="http://schemas.microsoft.com/office/drawing/2014/main" id="{55ADF7AF-0302-FFCD-E3AA-0181D41248EF}"/>
                </a:ext>
              </a:extLst>
            </p:cNvPr>
            <p:cNvGrpSpPr/>
            <p:nvPr/>
          </p:nvGrpSpPr>
          <p:grpSpPr>
            <a:xfrm>
              <a:off x="6394618" y="4816474"/>
              <a:ext cx="1019300" cy="972000"/>
              <a:chOff x="6394618" y="4858998"/>
              <a:chExt cx="1019300" cy="972000"/>
            </a:xfrm>
          </p:grpSpPr>
          <p:sp>
            <p:nvSpPr>
              <p:cNvPr id="17" name="Oval 24">
                <a:extLst>
                  <a:ext uri="{FF2B5EF4-FFF2-40B4-BE49-F238E27FC236}">
                    <a16:creationId xmlns:a16="http://schemas.microsoft.com/office/drawing/2014/main" id="{A0B8FE56-8C0D-E58F-AD66-E7F5E23AFC06}"/>
                  </a:ext>
                </a:extLst>
              </p:cNvPr>
              <p:cNvSpPr/>
              <p:nvPr/>
            </p:nvSpPr>
            <p:spPr>
              <a:xfrm>
                <a:off x="6407869" y="4858998"/>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Textfeld 17">
                <a:extLst>
                  <a:ext uri="{FF2B5EF4-FFF2-40B4-BE49-F238E27FC236}">
                    <a16:creationId xmlns:a16="http://schemas.microsoft.com/office/drawing/2014/main" id="{45520598-ABD5-B441-BDE1-A6AC82F23E85}"/>
                  </a:ext>
                </a:extLst>
              </p:cNvPr>
              <p:cNvSpPr txBox="1"/>
              <p:nvPr/>
            </p:nvSpPr>
            <p:spPr>
              <a:xfrm>
                <a:off x="6394618" y="5088976"/>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Beziehungen</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nutzen</a:t>
                </a:r>
              </a:p>
            </p:txBody>
          </p:sp>
        </p:grpSp>
        <p:grpSp>
          <p:nvGrpSpPr>
            <p:cNvPr id="6" name="Gruppieren 5">
              <a:extLst>
                <a:ext uri="{FF2B5EF4-FFF2-40B4-BE49-F238E27FC236}">
                  <a16:creationId xmlns:a16="http://schemas.microsoft.com/office/drawing/2014/main" id="{1A1FB904-3715-1251-9C25-92D3E3DC0D12}"/>
                </a:ext>
              </a:extLst>
            </p:cNvPr>
            <p:cNvGrpSpPr/>
            <p:nvPr/>
          </p:nvGrpSpPr>
          <p:grpSpPr>
            <a:xfrm>
              <a:off x="7083780" y="3971726"/>
              <a:ext cx="1019300" cy="972000"/>
              <a:chOff x="7134758" y="4079545"/>
              <a:chExt cx="1019300" cy="972000"/>
            </a:xfrm>
          </p:grpSpPr>
          <p:sp>
            <p:nvSpPr>
              <p:cNvPr id="15" name="Oval 22">
                <a:extLst>
                  <a:ext uri="{FF2B5EF4-FFF2-40B4-BE49-F238E27FC236}">
                    <a16:creationId xmlns:a16="http://schemas.microsoft.com/office/drawing/2014/main" id="{ADFAEAEF-C8B2-78F5-3333-392174AB02F9}"/>
                  </a:ext>
                </a:extLst>
              </p:cNvPr>
              <p:cNvSpPr/>
              <p:nvPr/>
            </p:nvSpPr>
            <p:spPr>
              <a:xfrm>
                <a:off x="7158408" y="4079545"/>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6" name="Textfeld 15">
                <a:extLst>
                  <a:ext uri="{FF2B5EF4-FFF2-40B4-BE49-F238E27FC236}">
                    <a16:creationId xmlns:a16="http://schemas.microsoft.com/office/drawing/2014/main" id="{8F5391DA-C14A-7A20-A56B-4C0CC34F7FEC}"/>
                  </a:ext>
                </a:extLst>
              </p:cNvPr>
              <p:cNvSpPr txBox="1"/>
              <p:nvPr/>
            </p:nvSpPr>
            <p:spPr>
              <a:xfrm>
                <a:off x="7134758" y="4407205"/>
                <a:ext cx="1019300" cy="420906"/>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Darstellungen vernetzen</a:t>
                </a:r>
              </a:p>
            </p:txBody>
          </p:sp>
        </p:grpSp>
        <p:grpSp>
          <p:nvGrpSpPr>
            <p:cNvPr id="11" name="Gruppieren 10">
              <a:extLst>
                <a:ext uri="{FF2B5EF4-FFF2-40B4-BE49-F238E27FC236}">
                  <a16:creationId xmlns:a16="http://schemas.microsoft.com/office/drawing/2014/main" id="{366098C1-BECA-43DF-8677-4D1BF652E121}"/>
                </a:ext>
              </a:extLst>
            </p:cNvPr>
            <p:cNvGrpSpPr/>
            <p:nvPr/>
          </p:nvGrpSpPr>
          <p:grpSpPr>
            <a:xfrm>
              <a:off x="5681807" y="3987586"/>
              <a:ext cx="1019300" cy="972000"/>
              <a:chOff x="5633682" y="4096616"/>
              <a:chExt cx="1019300" cy="972000"/>
            </a:xfrm>
          </p:grpSpPr>
          <p:sp>
            <p:nvSpPr>
              <p:cNvPr id="13" name="Oval 20">
                <a:extLst>
                  <a:ext uri="{FF2B5EF4-FFF2-40B4-BE49-F238E27FC236}">
                    <a16:creationId xmlns:a16="http://schemas.microsoft.com/office/drawing/2014/main" id="{0D2B9135-4F66-F050-517B-67F406F50F58}"/>
                  </a:ext>
                </a:extLst>
              </p:cNvPr>
              <p:cNvSpPr/>
              <p:nvPr/>
            </p:nvSpPr>
            <p:spPr>
              <a:xfrm>
                <a:off x="5657331" y="4096616"/>
                <a:ext cx="972000" cy="972000"/>
              </a:xfrm>
              <a:prstGeom prst="ellipse">
                <a:avLst/>
              </a:prstGeom>
              <a:solidFill>
                <a:srgbClr val="95B6BD"/>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de-DE" sz="500" b="1"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feld 13">
                <a:extLst>
                  <a:ext uri="{FF2B5EF4-FFF2-40B4-BE49-F238E27FC236}">
                    <a16:creationId xmlns:a16="http://schemas.microsoft.com/office/drawing/2014/main" id="{B41EB4B0-9B52-F17C-3E7A-B508B35A4A6F}"/>
                  </a:ext>
                </a:extLst>
              </p:cNvPr>
              <p:cNvSpPr txBox="1"/>
              <p:nvPr/>
            </p:nvSpPr>
            <p:spPr>
              <a:xfrm>
                <a:off x="5633682" y="4331610"/>
                <a:ext cx="1019300" cy="586262"/>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chemeClr val="bg1"/>
                    </a:solidFill>
                    <a:effectLst/>
                    <a:uLnTx/>
                    <a:uFillTx/>
                    <a:latin typeface="+mn-lt"/>
                    <a:ea typeface="+mn-ea"/>
                    <a:cs typeface="Arial" panose="020B0604020202020204" pitchFamily="34" charset="0"/>
                  </a:rPr>
                  <a:t>Grund-vorstellungen besitzen</a:t>
                </a:r>
              </a:p>
            </p:txBody>
          </p:sp>
        </p:grpSp>
      </p:grpSp>
      <p:sp>
        <p:nvSpPr>
          <p:cNvPr id="19" name="Titel 2">
            <a:extLst>
              <a:ext uri="{FF2B5EF4-FFF2-40B4-BE49-F238E27FC236}">
                <a16:creationId xmlns:a16="http://schemas.microsoft.com/office/drawing/2014/main" id="{D5C9DAC3-ACF8-E12C-81B7-CA114E8BCA92}"/>
              </a:ext>
            </a:extLst>
          </p:cNvPr>
          <p:cNvSpPr>
            <a:spLocks noGrp="1"/>
          </p:cNvSpPr>
          <p:nvPr>
            <p:ph type="title"/>
          </p:nvPr>
        </p:nvSpPr>
        <p:spPr>
          <a:xfrm>
            <a:off x="396000" y="1542549"/>
            <a:ext cx="8640000" cy="396000"/>
          </a:xfrm>
        </p:spPr>
        <p:txBody>
          <a:bodyPr/>
          <a:lstStyle/>
          <a:p>
            <a:r>
              <a:rPr lang="de-DE" dirty="0"/>
              <a:t>Addition und Subtraktion gemeinsam denken</a:t>
            </a:r>
          </a:p>
        </p:txBody>
      </p:sp>
      <p:grpSp>
        <p:nvGrpSpPr>
          <p:cNvPr id="50" name="Gruppieren 49">
            <a:extLst>
              <a:ext uri="{FF2B5EF4-FFF2-40B4-BE49-F238E27FC236}">
                <a16:creationId xmlns:a16="http://schemas.microsoft.com/office/drawing/2014/main" id="{B6DDA411-BEA1-6D05-5DAC-A547B0BCD194}"/>
              </a:ext>
            </a:extLst>
          </p:cNvPr>
          <p:cNvGrpSpPr/>
          <p:nvPr/>
        </p:nvGrpSpPr>
        <p:grpSpPr>
          <a:xfrm>
            <a:off x="396000" y="3351490"/>
            <a:ext cx="2666243" cy="2512488"/>
            <a:chOff x="396000" y="2309907"/>
            <a:chExt cx="2666243" cy="2512488"/>
          </a:xfrm>
        </p:grpSpPr>
        <p:pic>
          <p:nvPicPr>
            <p:cNvPr id="46" name="Picture 8" descr="A screenshot of a computer&#10;&#10;Description automatically generated">
              <a:extLst>
                <a:ext uri="{FF2B5EF4-FFF2-40B4-BE49-F238E27FC236}">
                  <a16:creationId xmlns:a16="http://schemas.microsoft.com/office/drawing/2014/main" id="{CFBEEAFA-8C4D-B12C-3F87-E1C65AD19D93}"/>
                </a:ext>
              </a:extLst>
            </p:cNvPr>
            <p:cNvPicPr>
              <a:picLocks noChangeAspect="1"/>
            </p:cNvPicPr>
            <p:nvPr/>
          </p:nvPicPr>
          <p:blipFill>
            <a:blip r:embed="rId4"/>
            <a:stretch>
              <a:fillRect/>
            </a:stretch>
          </p:blipFill>
          <p:spPr>
            <a:xfrm>
              <a:off x="396000" y="3001057"/>
              <a:ext cx="2666243" cy="1821338"/>
            </a:xfrm>
            <a:prstGeom prst="rect">
              <a:avLst/>
            </a:prstGeom>
          </p:spPr>
        </p:pic>
        <p:sp>
          <p:nvSpPr>
            <p:cNvPr id="47" name="Titel 2">
              <a:extLst>
                <a:ext uri="{FF2B5EF4-FFF2-40B4-BE49-F238E27FC236}">
                  <a16:creationId xmlns:a16="http://schemas.microsoft.com/office/drawing/2014/main" id="{15BEB4D1-4E31-62B7-AE6C-1A5273FC7CF8}"/>
                </a:ext>
              </a:extLst>
            </p:cNvPr>
            <p:cNvSpPr txBox="1">
              <a:spLocks/>
            </p:cNvSpPr>
            <p:nvPr/>
          </p:nvSpPr>
          <p:spPr>
            <a:xfrm>
              <a:off x="396000" y="2309907"/>
              <a:ext cx="2666242" cy="396000"/>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pPr algn="ctr"/>
              <a:r>
                <a:rPr lang="de-DE" dirty="0"/>
                <a:t>Hände</a:t>
              </a:r>
            </a:p>
            <a:p>
              <a:pPr algn="ctr"/>
              <a:r>
                <a:rPr lang="de-DE" sz="1600" dirty="0"/>
                <a:t>3 hin/3 weg</a:t>
              </a:r>
              <a:endParaRPr lang="de-DE" sz="1600" kern="0" dirty="0"/>
            </a:p>
          </p:txBody>
        </p:sp>
      </p:grpSp>
      <p:grpSp>
        <p:nvGrpSpPr>
          <p:cNvPr id="51" name="Gruppieren 50">
            <a:extLst>
              <a:ext uri="{FF2B5EF4-FFF2-40B4-BE49-F238E27FC236}">
                <a16:creationId xmlns:a16="http://schemas.microsoft.com/office/drawing/2014/main" id="{A650521A-D10A-494B-4784-0AFD6FEBE97E}"/>
              </a:ext>
            </a:extLst>
          </p:cNvPr>
          <p:cNvGrpSpPr/>
          <p:nvPr/>
        </p:nvGrpSpPr>
        <p:grpSpPr>
          <a:xfrm>
            <a:off x="3176906" y="3353549"/>
            <a:ext cx="2666242" cy="2510429"/>
            <a:chOff x="3232838" y="2985408"/>
            <a:chExt cx="2666242" cy="2510429"/>
          </a:xfrm>
        </p:grpSpPr>
        <p:pic>
          <p:nvPicPr>
            <p:cNvPr id="44" name="Grafik 43">
              <a:extLst>
                <a:ext uri="{FF2B5EF4-FFF2-40B4-BE49-F238E27FC236}">
                  <a16:creationId xmlns:a16="http://schemas.microsoft.com/office/drawing/2014/main" id="{171CBFCA-118F-AF85-4FBC-4B729F5A5D2D}"/>
                </a:ext>
              </a:extLst>
            </p:cNvPr>
            <p:cNvPicPr>
              <a:picLocks noChangeAspect="1"/>
            </p:cNvPicPr>
            <p:nvPr/>
          </p:nvPicPr>
          <p:blipFill>
            <a:blip r:embed="rId5"/>
            <a:stretch>
              <a:fillRect/>
            </a:stretch>
          </p:blipFill>
          <p:spPr>
            <a:xfrm>
              <a:off x="3244922" y="4065884"/>
              <a:ext cx="2654158" cy="1429953"/>
            </a:xfrm>
            <a:prstGeom prst="rect">
              <a:avLst/>
            </a:prstGeom>
          </p:spPr>
        </p:pic>
        <p:sp>
          <p:nvSpPr>
            <p:cNvPr id="48" name="Titel 2">
              <a:extLst>
                <a:ext uri="{FF2B5EF4-FFF2-40B4-BE49-F238E27FC236}">
                  <a16:creationId xmlns:a16="http://schemas.microsoft.com/office/drawing/2014/main" id="{ADC5440C-20AB-D2D5-BBC7-6BA827729D21}"/>
                </a:ext>
              </a:extLst>
            </p:cNvPr>
            <p:cNvSpPr txBox="1">
              <a:spLocks/>
            </p:cNvSpPr>
            <p:nvPr/>
          </p:nvSpPr>
          <p:spPr>
            <a:xfrm>
              <a:off x="3232838" y="2985408"/>
              <a:ext cx="2666242" cy="396000"/>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pPr algn="ctr"/>
              <a:r>
                <a:rPr lang="de-DE" dirty="0"/>
                <a:t>Rechenstrich</a:t>
              </a:r>
            </a:p>
            <a:p>
              <a:pPr algn="ctr"/>
              <a:r>
                <a:rPr lang="de-DE" sz="1600" kern="0" dirty="0"/>
                <a:t>vor- und zurückspringen</a:t>
              </a:r>
            </a:p>
          </p:txBody>
        </p:sp>
      </p:grpSp>
      <p:grpSp>
        <p:nvGrpSpPr>
          <p:cNvPr id="52" name="Gruppieren 51">
            <a:extLst>
              <a:ext uri="{FF2B5EF4-FFF2-40B4-BE49-F238E27FC236}">
                <a16:creationId xmlns:a16="http://schemas.microsoft.com/office/drawing/2014/main" id="{0566396C-8543-68D4-AA60-3CE0C304355D}"/>
              </a:ext>
            </a:extLst>
          </p:cNvPr>
          <p:cNvGrpSpPr/>
          <p:nvPr/>
        </p:nvGrpSpPr>
        <p:grpSpPr>
          <a:xfrm>
            <a:off x="5957811" y="3353549"/>
            <a:ext cx="2666242" cy="2510429"/>
            <a:chOff x="5957811" y="3280968"/>
            <a:chExt cx="2666242" cy="2510429"/>
          </a:xfrm>
        </p:grpSpPr>
        <p:pic>
          <p:nvPicPr>
            <p:cNvPr id="45" name="Picture 6" descr="A screen shot of a computer&#10;&#10;Description automatically generated">
              <a:extLst>
                <a:ext uri="{FF2B5EF4-FFF2-40B4-BE49-F238E27FC236}">
                  <a16:creationId xmlns:a16="http://schemas.microsoft.com/office/drawing/2014/main" id="{8C2736D0-422A-7EF2-41C8-05DD494A9915}"/>
                </a:ext>
              </a:extLst>
            </p:cNvPr>
            <p:cNvPicPr>
              <a:picLocks noChangeAspect="1"/>
            </p:cNvPicPr>
            <p:nvPr/>
          </p:nvPicPr>
          <p:blipFill>
            <a:blip r:embed="rId6"/>
            <a:stretch>
              <a:fillRect/>
            </a:stretch>
          </p:blipFill>
          <p:spPr>
            <a:xfrm>
              <a:off x="6008962" y="3970058"/>
              <a:ext cx="2563941" cy="1821339"/>
            </a:xfrm>
            <a:prstGeom prst="rect">
              <a:avLst/>
            </a:prstGeom>
          </p:spPr>
        </p:pic>
        <p:sp>
          <p:nvSpPr>
            <p:cNvPr id="49" name="Titel 2">
              <a:extLst>
                <a:ext uri="{FF2B5EF4-FFF2-40B4-BE49-F238E27FC236}">
                  <a16:creationId xmlns:a16="http://schemas.microsoft.com/office/drawing/2014/main" id="{855536D6-2A30-929B-92AA-1B1045028586}"/>
                </a:ext>
              </a:extLst>
            </p:cNvPr>
            <p:cNvSpPr txBox="1">
              <a:spLocks/>
            </p:cNvSpPr>
            <p:nvPr/>
          </p:nvSpPr>
          <p:spPr>
            <a:xfrm>
              <a:off x="5957811" y="3280968"/>
              <a:ext cx="2666242" cy="396000"/>
            </a:xfrm>
            <a:prstGeom prst="rect">
              <a:avLst/>
            </a:prstGeom>
          </p:spPr>
          <p:txBody>
            <a:bodyPr vert="horz" lIns="0" tIns="0" rIns="0" bIns="0" rtlCol="0" anchor="t" anchorCtr="0">
              <a:noAutofit/>
            </a:bodyPr>
            <a:lstStyle>
              <a:lvl1pPr algn="l" rtl="0" eaLnBrk="1" fontAlgn="base" hangingPunct="1">
                <a:spcBef>
                  <a:spcPct val="0"/>
                </a:spcBef>
                <a:spcAft>
                  <a:spcPct val="0"/>
                </a:spcAft>
                <a:defRPr sz="2200" b="1">
                  <a:solidFill>
                    <a:srgbClr val="327A86"/>
                  </a:solidFill>
                  <a:latin typeface="+mj-lt"/>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a:lstStyle>
            <a:p>
              <a:pPr algn="ctr"/>
              <a:r>
                <a:rPr lang="de-DE" dirty="0"/>
                <a:t>Plättchen</a:t>
              </a:r>
            </a:p>
            <a:p>
              <a:pPr algn="ctr"/>
              <a:r>
                <a:rPr lang="de-DE" sz="1600" kern="0" dirty="0"/>
                <a:t>hinlegen/wegnehmen</a:t>
              </a:r>
            </a:p>
          </p:txBody>
        </p:sp>
      </p:grpSp>
    </p:spTree>
    <p:extLst>
      <p:ext uri="{BB962C8B-B14F-4D97-AF65-F5344CB8AC3E}">
        <p14:creationId xmlns:p14="http://schemas.microsoft.com/office/powerpoint/2010/main" val="29400331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821195888"/>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3702561">
                  <a:extLst>
                    <a:ext uri="{9D8B030D-6E8A-4147-A177-3AD203B41FA5}">
                      <a16:colId xmlns:a16="http://schemas.microsoft.com/office/drawing/2014/main" val="3781056649"/>
                    </a:ext>
                  </a:extLst>
                </a:gridCol>
                <a:gridCol w="4088772">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Erkundung des Praxiserprobung </a:t>
                      </a:r>
                      <a:br>
                        <a:rPr lang="de-DE" sz="1100" dirty="0">
                          <a:solidFill>
                            <a:schemeClr val="accent1"/>
                          </a:solidFill>
                        </a:rPr>
                      </a:br>
                      <a:r>
                        <a:rPr lang="de-DE" sz="1100" dirty="0">
                          <a:solidFill>
                            <a:schemeClr val="accent1"/>
                          </a:solidFill>
                        </a:rPr>
                        <a:t>‚Addition und Subtraktion in der Umwelt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1 Folie</a:t>
                      </a:r>
                    </a:p>
                    <a:p>
                      <a:r>
                        <a:rPr lang="de-DE" sz="1100" dirty="0">
                          <a:solidFill>
                            <a:schemeClr val="accent1"/>
                          </a:solidFill>
                        </a:rPr>
                        <a:t>Material: Wimmelbild (ausgedruckt oder auf dem </a:t>
                      </a:r>
                      <a:r>
                        <a:rPr lang="de-DE" sz="1100" dirty="0" err="1">
                          <a:solidFill>
                            <a:schemeClr val="accent1"/>
                          </a:solidFill>
                        </a:rPr>
                        <a:t>Beamer</a:t>
                      </a:r>
                      <a:r>
                        <a:rPr lang="de-DE" sz="1100" dirty="0">
                          <a:solidFill>
                            <a:schemeClr val="accent1"/>
                          </a:solidFill>
                        </a:rPr>
                        <a: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sich aktiv mit der Praxiserprobung ‚Addition und Subtraktion in der Umwelt ‘ auseinanderzusetzen und deren Wert für den Aufbau eines tragfähigen Operationsverständnis zu reflektieren.</a:t>
            </a:r>
          </a:p>
          <a:p>
            <a:pPr lvl="2"/>
            <a:r>
              <a:rPr lang="de-DE" dirty="0"/>
              <a:t>das Zusammendenken von Addition und Subtraktion anzuregen.</a:t>
            </a:r>
          </a:p>
          <a:p>
            <a:pPr lvl="2"/>
            <a:r>
              <a:rPr lang="de-DE" dirty="0"/>
              <a:t>den didaktischen Wert von Wimmelbildern auch für die 2. Klasse und die folgenden Schuljahre zu betonen. </a:t>
            </a:r>
          </a:p>
          <a:p>
            <a:r>
              <a:rPr lang="de-DE" dirty="0"/>
              <a:t>Didaktische Umsetzung:</a:t>
            </a:r>
          </a:p>
          <a:p>
            <a:pPr lvl="2"/>
            <a:r>
              <a:rPr lang="de-DE" dirty="0"/>
              <a:t>Die </a:t>
            </a:r>
            <a:r>
              <a:rPr lang="de-DE" dirty="0" err="1"/>
              <a:t>Kolleg:innen</a:t>
            </a:r>
            <a:r>
              <a:rPr lang="de-DE" dirty="0"/>
              <a:t> werden angeregt, das Wimmelbild genauer zu betrachten und in die </a:t>
            </a:r>
            <a:r>
              <a:rPr lang="de-DE"/>
              <a:t>Diskussion zu gehen:</a:t>
            </a:r>
            <a:endParaRPr lang="de-DE" dirty="0"/>
          </a:p>
          <a:p>
            <a:pPr marL="1080000" lvl="5">
              <a:spcBef>
                <a:spcPts val="0"/>
              </a:spcBef>
              <a:buFont typeface="Arial" panose="020B0604020202020204" pitchFamily="34" charset="0"/>
              <a:buChar char="•"/>
            </a:pPr>
            <a:r>
              <a:rPr lang="de-DE" sz="1400" i="1" dirty="0">
                <a:solidFill>
                  <a:schemeClr val="accent1"/>
                </a:solidFill>
              </a:rPr>
              <a:t>Was sind eindeutige Plus-/Minusaufgaben? An welchen Bildern lässt sich der Zusammenhang thematisieren? Wie müsste das Umkehrbild aussehen?</a:t>
            </a:r>
          </a:p>
          <a:p>
            <a:pPr marL="1080000" lvl="5">
              <a:spcBef>
                <a:spcPts val="0"/>
              </a:spcBef>
              <a:buFont typeface="Arial" panose="020B0604020202020204" pitchFamily="34" charset="0"/>
              <a:buChar char="•"/>
            </a:pPr>
            <a:r>
              <a:rPr lang="de-DE" sz="1400" i="1" dirty="0">
                <a:solidFill>
                  <a:schemeClr val="accent1"/>
                </a:solidFill>
              </a:rPr>
              <a:t>Wo, wann, wie und mit welchem Ziel kann ich Wimmelbilder in meinem Unterricht einsetzen?</a:t>
            </a:r>
          </a:p>
          <a:p>
            <a:pPr lvl="2"/>
            <a:r>
              <a:rPr lang="de-DE" dirty="0"/>
              <a:t>Ggf. können ausgedruckte Folien bereitgestellt werden.</a:t>
            </a:r>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1_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bg1"/>
        </a:solidFill>
        <a:ln w="9525" cap="flat" cmpd="sng" algn="ctr">
          <a:solidFill>
            <a:schemeClr val="tx2"/>
          </a:solidFill>
          <a:prstDash val="solid"/>
          <a:round/>
          <a:headEnd type="none" w="med" len="med"/>
          <a:tailEnd type="none" w="med" len="med"/>
        </a:ln>
      </a:spPr>
      <a:bodyPr/>
      <a:lstStyle/>
    </a:spDef>
    <a:lnDef>
      <a:spPr bwMode="auto">
        <a:xfrm>
          <a:off x="0" y="0"/>
          <a:ext cx="1" cy="1"/>
        </a:xfrm>
        <a:prstGeom prst="rect">
          <a:avLst/>
        </a:prstGeom>
        <a:solidFill>
          <a:schemeClr val="accent1"/>
        </a:solidFill>
        <a:ln w="9525" cap="flat" cmpd="sng" algn="ctr">
          <a:solidFill>
            <a:schemeClr val="tx1"/>
          </a:solidFill>
          <a:prstDash val="solid"/>
          <a:round/>
          <a:headEnd type="none" w="med" len="med"/>
          <a:tailEnd type="none" w="med" len="med"/>
        </a:ln>
      </a:spPr>
      <a:bodyPr/>
      <a:lstStyle/>
    </a:lnDef>
    <a:txDef>
      <a:spPr bwMode="auto">
        <a:prstGeom prst="rect">
          <a:avLst/>
        </a:prstGeom>
        <a:noFill/>
      </a:spPr>
      <a:body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1542</Words>
  <Application>Microsoft Macintosh PowerPoint</Application>
  <PresentationFormat>Bildschirmpräsentation (4:3)</PresentationFormat>
  <Paragraphs>151</Paragraphs>
  <Slides>13</Slides>
  <Notes>11</Notes>
  <HiddenSlides>5</HiddenSlides>
  <MMClips>0</MMClips>
  <ScaleCrop>false</ScaleCrop>
  <HeadingPairs>
    <vt:vector size="8" baseType="variant">
      <vt:variant>
        <vt:lpstr>Verwendete Schriftarten</vt:lpstr>
      </vt:variant>
      <vt:variant>
        <vt:i4>7</vt:i4>
      </vt:variant>
      <vt:variant>
        <vt:lpstr>Design</vt:lpstr>
      </vt:variant>
      <vt:variant>
        <vt:i4>6</vt:i4>
      </vt:variant>
      <vt:variant>
        <vt:lpstr>Eingebettete OLE-Server</vt:lpstr>
      </vt:variant>
      <vt:variant>
        <vt:i4>1</vt:i4>
      </vt:variant>
      <vt:variant>
        <vt:lpstr>Folientitel</vt:lpstr>
      </vt:variant>
      <vt:variant>
        <vt:i4>13</vt:i4>
      </vt:variant>
    </vt:vector>
  </HeadingPairs>
  <TitlesOfParts>
    <vt:vector size="27" baseType="lpstr">
      <vt:lpstr>Arial</vt:lpstr>
      <vt:lpstr>Calibri</vt:lpstr>
      <vt:lpstr>Calibri Light</vt:lpstr>
      <vt:lpstr>Calibri Normal</vt:lpstr>
      <vt:lpstr>Meta Offc Pro</vt:lpstr>
      <vt:lpstr>Open Sans</vt:lpstr>
      <vt:lpstr>Wingdings</vt:lpstr>
      <vt:lpstr>Inhaltsfolien</vt:lpstr>
      <vt:lpstr>Zwischenfolien für Fortbildende</vt:lpstr>
      <vt:lpstr>Start- und Endfolien</vt:lpstr>
      <vt:lpstr>IPN-Kontext</vt:lpstr>
      <vt:lpstr>IPN-Kontext mit Balken</vt:lpstr>
      <vt:lpstr>1_Inhaltsfolien</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PowerPoint-Präsentation</vt:lpstr>
      <vt:lpstr>Addition und Subtraktion gemeinsam denken</vt:lpstr>
      <vt:lpstr>Sinn der nächsten Aktivität</vt:lpstr>
      <vt:lpstr>PowerPoint-Präsentation</vt:lpstr>
      <vt:lpstr>Sinn des nächsten Inputs</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Johanna Brandt</cp:lastModifiedBy>
  <cp:revision>10</cp:revision>
  <cp:lastPrinted>2017-05-16T11:48:33Z</cp:lastPrinted>
  <dcterms:created xsi:type="dcterms:W3CDTF">2021-04-08T06:27:02Z</dcterms:created>
  <dcterms:modified xsi:type="dcterms:W3CDTF">2024-11-08T17:58:23Z</dcterms:modified>
  <cp:category/>
</cp:coreProperties>
</file>